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9" r:id="rId4"/>
    <p:sldId id="263" r:id="rId5"/>
    <p:sldId id="264" r:id="rId6"/>
    <p:sldId id="260" r:id="rId7"/>
    <p:sldId id="265" r:id="rId8"/>
    <p:sldId id="266" r:id="rId9"/>
    <p:sldId id="261" r:id="rId10"/>
    <p:sldId id="267" r:id="rId11"/>
    <p:sldId id="268" r:id="rId12"/>
    <p:sldId id="262" r:id="rId13"/>
    <p:sldId id="269" r:id="rId14"/>
    <p:sldId id="270" r:id="rId15"/>
    <p:sldId id="257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BBC3"/>
    <a:srgbClr val="00817D"/>
    <a:srgbClr val="2C9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3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0327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3251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080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4167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205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2828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1427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558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58539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6360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204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E9ABA0-65E9-498C-B542-EA53309385A9}" type="datetimeFigureOut">
              <a:rPr lang="zh-CN" altLang="en-US" smtClean="0"/>
              <a:t>2020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CB0305-E796-465C-B3E6-3B891B1C5D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90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g"/><Relationship Id="rId5" Type="http://schemas.openxmlformats.org/officeDocument/2006/relationships/image" Target="../media/image2.jpg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>
            <a:off x="1910860" y="-19050"/>
            <a:ext cx="10281140" cy="6331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03019" y="2487780"/>
            <a:ext cx="73860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毕业答辩通用</a:t>
            </a:r>
            <a:endParaRPr lang="zh-CN" altLang="en-US" sz="6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4459" y="3856879"/>
            <a:ext cx="504963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00" dirty="0" smtClean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900" dirty="0" err="1" smtClean="0"/>
              <a:t>urna</a:t>
            </a:r>
            <a:r>
              <a:rPr lang="en-US" altLang="zh-CN" sz="900" dirty="0" smtClean="0"/>
              <a:t>.</a:t>
            </a:r>
          </a:p>
        </p:txBody>
      </p:sp>
      <p:sp>
        <p:nvSpPr>
          <p:cNvPr id="2" name="矩形 1"/>
          <p:cNvSpPr/>
          <p:nvPr/>
        </p:nvSpPr>
        <p:spPr>
          <a:xfrm>
            <a:off x="694459" y="3536798"/>
            <a:ext cx="4725439" cy="241069"/>
          </a:xfrm>
          <a:prstGeom prst="rect">
            <a:avLst/>
          </a:prstGeom>
          <a:solidFill>
            <a:srgbClr val="2C9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-59688" y="3503443"/>
            <a:ext cx="61100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毕业答辩 教育教学 开题报告 教学课件 答辩计划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12189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637837" y="590123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成果展示及应用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id="{CD824569-B747-451B-8447-6124B0EB388C}"/>
              </a:ext>
            </a:extLst>
          </p:cNvPr>
          <p:cNvSpPr/>
          <p:nvPr/>
        </p:nvSpPr>
        <p:spPr>
          <a:xfrm>
            <a:off x="8475260" y="1320279"/>
            <a:ext cx="3716740" cy="2919019"/>
          </a:xfrm>
          <a:prstGeom prst="rect">
            <a:avLst/>
          </a:prstGeom>
          <a:solidFill>
            <a:srgbClr val="00817D">
              <a:alpha val="9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planet-saturn_65804">
            <a:extLst>
              <a:ext uri="{FF2B5EF4-FFF2-40B4-BE49-F238E27FC236}">
                <a16:creationId xmlns:a16="http://schemas.microsoft.com/office/drawing/2014/main" id="{F042B3F5-A142-4013-8F7E-EBB372905181}"/>
              </a:ext>
            </a:extLst>
          </p:cNvPr>
          <p:cNvSpPr>
            <a:spLocks noChangeAspect="1"/>
          </p:cNvSpPr>
          <p:nvPr/>
        </p:nvSpPr>
        <p:spPr bwMode="auto">
          <a:xfrm>
            <a:off x="10032014" y="1632842"/>
            <a:ext cx="603231" cy="60968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00058" h="606478">
                <a:moveTo>
                  <a:pt x="62420" y="416759"/>
                </a:moveTo>
                <a:cubicBezTo>
                  <a:pt x="76726" y="430734"/>
                  <a:pt x="91913" y="443467"/>
                  <a:pt x="107826" y="455424"/>
                </a:cubicBezTo>
                <a:cubicBezTo>
                  <a:pt x="125916" y="468933"/>
                  <a:pt x="144939" y="481356"/>
                  <a:pt x="164583" y="492640"/>
                </a:cubicBezTo>
                <a:cubicBezTo>
                  <a:pt x="203821" y="515103"/>
                  <a:pt x="245547" y="533271"/>
                  <a:pt x="288776" y="546781"/>
                </a:cubicBezTo>
                <a:cubicBezTo>
                  <a:pt x="310339" y="553561"/>
                  <a:pt x="332369" y="559100"/>
                  <a:pt x="354605" y="563085"/>
                </a:cubicBezTo>
                <a:cubicBezTo>
                  <a:pt x="374095" y="566605"/>
                  <a:pt x="393791" y="569037"/>
                  <a:pt x="413695" y="570073"/>
                </a:cubicBezTo>
                <a:cubicBezTo>
                  <a:pt x="351080" y="610031"/>
                  <a:pt x="270324" y="619141"/>
                  <a:pt x="197135" y="587153"/>
                </a:cubicBezTo>
                <a:cubicBezTo>
                  <a:pt x="123842" y="555269"/>
                  <a:pt x="75637" y="489845"/>
                  <a:pt x="62420" y="416759"/>
                </a:cubicBezTo>
                <a:close/>
                <a:moveTo>
                  <a:pt x="142343" y="165989"/>
                </a:moveTo>
                <a:cubicBezTo>
                  <a:pt x="145608" y="166041"/>
                  <a:pt x="148770" y="166196"/>
                  <a:pt x="151983" y="166299"/>
                </a:cubicBezTo>
                <a:cubicBezTo>
                  <a:pt x="136694" y="176236"/>
                  <a:pt x="122649" y="187725"/>
                  <a:pt x="110107" y="200560"/>
                </a:cubicBezTo>
                <a:cubicBezTo>
                  <a:pt x="93523" y="204493"/>
                  <a:pt x="74762" y="211428"/>
                  <a:pt x="61805" y="222762"/>
                </a:cubicBezTo>
                <a:cubicBezTo>
                  <a:pt x="41956" y="239945"/>
                  <a:pt x="41541" y="265149"/>
                  <a:pt x="51129" y="288127"/>
                </a:cubicBezTo>
                <a:cubicBezTo>
                  <a:pt x="69994" y="333256"/>
                  <a:pt x="111818" y="368138"/>
                  <a:pt x="151050" y="395568"/>
                </a:cubicBezTo>
                <a:cubicBezTo>
                  <a:pt x="159135" y="401157"/>
                  <a:pt x="167375" y="406643"/>
                  <a:pt x="175823" y="411818"/>
                </a:cubicBezTo>
                <a:cubicBezTo>
                  <a:pt x="250660" y="457931"/>
                  <a:pt x="338351" y="492450"/>
                  <a:pt x="426559" y="499334"/>
                </a:cubicBezTo>
                <a:cubicBezTo>
                  <a:pt x="457552" y="501766"/>
                  <a:pt x="492068" y="501456"/>
                  <a:pt x="521246" y="489190"/>
                </a:cubicBezTo>
                <a:cubicBezTo>
                  <a:pt x="534980" y="483394"/>
                  <a:pt x="547626" y="473405"/>
                  <a:pt x="553327" y="459587"/>
                </a:cubicBezTo>
                <a:cubicBezTo>
                  <a:pt x="561671" y="439351"/>
                  <a:pt x="554208" y="416062"/>
                  <a:pt x="545138" y="397327"/>
                </a:cubicBezTo>
                <a:cubicBezTo>
                  <a:pt x="543635" y="394326"/>
                  <a:pt x="542029" y="391272"/>
                  <a:pt x="540370" y="388322"/>
                </a:cubicBezTo>
                <a:cubicBezTo>
                  <a:pt x="540526" y="385269"/>
                  <a:pt x="540577" y="382215"/>
                  <a:pt x="540681" y="379214"/>
                </a:cubicBezTo>
                <a:cubicBezTo>
                  <a:pt x="540785" y="363998"/>
                  <a:pt x="539645" y="348989"/>
                  <a:pt x="537053" y="334136"/>
                </a:cubicBezTo>
                <a:cubicBezTo>
                  <a:pt x="544879" y="341744"/>
                  <a:pt x="552705" y="350025"/>
                  <a:pt x="560168" y="359237"/>
                </a:cubicBezTo>
                <a:cubicBezTo>
                  <a:pt x="577892" y="381180"/>
                  <a:pt x="592404" y="406643"/>
                  <a:pt x="596083" y="435107"/>
                </a:cubicBezTo>
                <a:cubicBezTo>
                  <a:pt x="599141" y="458707"/>
                  <a:pt x="592974" y="482565"/>
                  <a:pt x="578203" y="501352"/>
                </a:cubicBezTo>
                <a:cubicBezTo>
                  <a:pt x="570637" y="510926"/>
                  <a:pt x="561412" y="518793"/>
                  <a:pt x="551513" y="524952"/>
                </a:cubicBezTo>
                <a:cubicBezTo>
                  <a:pt x="523475" y="542548"/>
                  <a:pt x="488699" y="549224"/>
                  <a:pt x="455997" y="550880"/>
                </a:cubicBezTo>
                <a:cubicBezTo>
                  <a:pt x="369758" y="555279"/>
                  <a:pt x="280150" y="528523"/>
                  <a:pt x="203706" y="490173"/>
                </a:cubicBezTo>
                <a:cubicBezTo>
                  <a:pt x="156181" y="466367"/>
                  <a:pt x="110159" y="436039"/>
                  <a:pt x="72015" y="398880"/>
                </a:cubicBezTo>
                <a:cubicBezTo>
                  <a:pt x="41126" y="368759"/>
                  <a:pt x="10290" y="328702"/>
                  <a:pt x="1997" y="285436"/>
                </a:cubicBezTo>
                <a:cubicBezTo>
                  <a:pt x="-1371" y="267478"/>
                  <a:pt x="-749" y="248588"/>
                  <a:pt x="5936" y="231612"/>
                </a:cubicBezTo>
                <a:cubicBezTo>
                  <a:pt x="14384" y="210393"/>
                  <a:pt x="31849" y="193573"/>
                  <a:pt x="52114" y="183067"/>
                </a:cubicBezTo>
                <a:cubicBezTo>
                  <a:pt x="79633" y="168783"/>
                  <a:pt x="111818" y="165264"/>
                  <a:pt x="142343" y="165989"/>
                </a:cubicBezTo>
                <a:close/>
                <a:moveTo>
                  <a:pt x="258255" y="148296"/>
                </a:moveTo>
                <a:cubicBezTo>
                  <a:pt x="337302" y="137532"/>
                  <a:pt x="421013" y="171273"/>
                  <a:pt x="470411" y="233786"/>
                </a:cubicBezTo>
                <a:cubicBezTo>
                  <a:pt x="519808" y="296299"/>
                  <a:pt x="533233" y="385412"/>
                  <a:pt x="504414" y="459724"/>
                </a:cubicBezTo>
                <a:cubicBezTo>
                  <a:pt x="502600" y="464329"/>
                  <a:pt x="500578" y="468935"/>
                  <a:pt x="497157" y="472558"/>
                </a:cubicBezTo>
                <a:cubicBezTo>
                  <a:pt x="490470" y="479492"/>
                  <a:pt x="479845" y="480838"/>
                  <a:pt x="470203" y="481252"/>
                </a:cubicBezTo>
                <a:cubicBezTo>
                  <a:pt x="418473" y="483373"/>
                  <a:pt x="367158" y="471523"/>
                  <a:pt x="318072" y="455015"/>
                </a:cubicBezTo>
                <a:cubicBezTo>
                  <a:pt x="238507" y="428260"/>
                  <a:pt x="162207" y="388154"/>
                  <a:pt x="102080" y="329626"/>
                </a:cubicBezTo>
                <a:cubicBezTo>
                  <a:pt x="93580" y="321346"/>
                  <a:pt x="85027" y="312238"/>
                  <a:pt x="80310" y="301164"/>
                </a:cubicBezTo>
                <a:cubicBezTo>
                  <a:pt x="72017" y="281602"/>
                  <a:pt x="89329" y="260282"/>
                  <a:pt x="100422" y="244705"/>
                </a:cubicBezTo>
                <a:cubicBezTo>
                  <a:pt x="109752" y="231613"/>
                  <a:pt x="120481" y="219451"/>
                  <a:pt x="132299" y="208532"/>
                </a:cubicBezTo>
                <a:cubicBezTo>
                  <a:pt x="136083" y="205117"/>
                  <a:pt x="139971" y="201701"/>
                  <a:pt x="144066" y="198493"/>
                </a:cubicBezTo>
                <a:cubicBezTo>
                  <a:pt x="176669" y="171997"/>
                  <a:pt x="216425" y="153989"/>
                  <a:pt x="258255" y="148296"/>
                </a:cubicBezTo>
                <a:close/>
                <a:moveTo>
                  <a:pt x="535808" y="39093"/>
                </a:moveTo>
                <a:cubicBezTo>
                  <a:pt x="571292" y="39093"/>
                  <a:pt x="600058" y="67827"/>
                  <a:pt x="600058" y="103273"/>
                </a:cubicBezTo>
                <a:cubicBezTo>
                  <a:pt x="600058" y="138719"/>
                  <a:pt x="571292" y="167453"/>
                  <a:pt x="535808" y="167453"/>
                </a:cubicBezTo>
                <a:cubicBezTo>
                  <a:pt x="500324" y="167453"/>
                  <a:pt x="471558" y="138719"/>
                  <a:pt x="471558" y="103273"/>
                </a:cubicBezTo>
                <a:cubicBezTo>
                  <a:pt x="471558" y="67827"/>
                  <a:pt x="500324" y="39093"/>
                  <a:pt x="535808" y="39093"/>
                </a:cubicBezTo>
                <a:close/>
                <a:moveTo>
                  <a:pt x="335085" y="0"/>
                </a:moveTo>
                <a:cubicBezTo>
                  <a:pt x="355000" y="0"/>
                  <a:pt x="371144" y="16128"/>
                  <a:pt x="371144" y="36024"/>
                </a:cubicBezTo>
                <a:cubicBezTo>
                  <a:pt x="371144" y="55920"/>
                  <a:pt x="355000" y="72048"/>
                  <a:pt x="335085" y="72048"/>
                </a:cubicBezTo>
                <a:cubicBezTo>
                  <a:pt x="315170" y="72048"/>
                  <a:pt x="299026" y="55920"/>
                  <a:pt x="299026" y="36024"/>
                </a:cubicBezTo>
                <a:cubicBezTo>
                  <a:pt x="299026" y="16128"/>
                  <a:pt x="315170" y="0"/>
                  <a:pt x="3350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73282222-DFCC-4B25-93EA-10EC4F5694B6}"/>
              </a:ext>
            </a:extLst>
          </p:cNvPr>
          <p:cNvSpPr txBox="1"/>
          <p:nvPr/>
        </p:nvSpPr>
        <p:spPr>
          <a:xfrm>
            <a:off x="8806935" y="2555089"/>
            <a:ext cx="3053390" cy="133568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1100" dirty="0" err="1">
                <a:solidFill>
                  <a:schemeClr val="bg1"/>
                </a:solidFill>
              </a:rPr>
              <a:t>urna</a:t>
            </a:r>
            <a:r>
              <a:rPr lang="en-US" altLang="zh-CN" sz="1100" dirty="0">
                <a:solidFill>
                  <a:schemeClr val="bg1"/>
                </a:solidFill>
              </a:rPr>
              <a:t>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129FA5B-ADE5-4BAF-8479-D36A46F20C4D}"/>
              </a:ext>
            </a:extLst>
          </p:cNvPr>
          <p:cNvSpPr/>
          <p:nvPr/>
        </p:nvSpPr>
        <p:spPr>
          <a:xfrm>
            <a:off x="967896" y="4566840"/>
            <a:ext cx="1197764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成果</a:t>
            </a:r>
            <a:r>
              <a:rPr lang="en-US" altLang="zh-CN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01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A0D58BF-3EE7-4667-B477-3B67E2CBB5D8}"/>
              </a:ext>
            </a:extLst>
          </p:cNvPr>
          <p:cNvSpPr txBox="1"/>
          <p:nvPr/>
        </p:nvSpPr>
        <p:spPr>
          <a:xfrm>
            <a:off x="967896" y="4923810"/>
            <a:ext cx="278114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129FA5B-ADE5-4BAF-8479-D36A46F20C4D}"/>
              </a:ext>
            </a:extLst>
          </p:cNvPr>
          <p:cNvSpPr/>
          <p:nvPr/>
        </p:nvSpPr>
        <p:spPr>
          <a:xfrm>
            <a:off x="4800569" y="4566840"/>
            <a:ext cx="123303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成果</a:t>
            </a:r>
            <a:r>
              <a:rPr lang="en-US" altLang="zh-CN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02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CA0D58BF-3EE7-4667-B477-3B67E2CBB5D8}"/>
              </a:ext>
            </a:extLst>
          </p:cNvPr>
          <p:cNvSpPr txBox="1"/>
          <p:nvPr/>
        </p:nvSpPr>
        <p:spPr>
          <a:xfrm>
            <a:off x="4800569" y="4923810"/>
            <a:ext cx="278114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129FA5B-ADE5-4BAF-8479-D36A46F20C4D}"/>
              </a:ext>
            </a:extLst>
          </p:cNvPr>
          <p:cNvSpPr/>
          <p:nvPr/>
        </p:nvSpPr>
        <p:spPr>
          <a:xfrm>
            <a:off x="8475260" y="4566840"/>
            <a:ext cx="123303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成果</a:t>
            </a:r>
            <a:r>
              <a:rPr lang="en-US" altLang="zh-CN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03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A0D58BF-3EE7-4667-B477-3B67E2CBB5D8}"/>
              </a:ext>
            </a:extLst>
          </p:cNvPr>
          <p:cNvSpPr txBox="1"/>
          <p:nvPr/>
        </p:nvSpPr>
        <p:spPr>
          <a:xfrm>
            <a:off x="8475260" y="4923810"/>
            <a:ext cx="278114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9" name="Picture 2" descr="äºº, åå­ç­, å¯«ä½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08" b="18418"/>
          <a:stretch/>
        </p:blipFill>
        <p:spPr bwMode="auto">
          <a:xfrm>
            <a:off x="0" y="1320279"/>
            <a:ext cx="8475259" cy="2919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5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637837" y="590123"/>
              <a:ext cx="22621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成果展示及应用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58C32530-84F0-4C67-A8ED-4C3BA84EE89F}"/>
              </a:ext>
            </a:extLst>
          </p:cNvPr>
          <p:cNvGrpSpPr/>
          <p:nvPr/>
        </p:nvGrpSpPr>
        <p:grpSpPr>
          <a:xfrm>
            <a:off x="3052763" y="654050"/>
            <a:ext cx="6053137" cy="6035675"/>
            <a:chOff x="3052763" y="654050"/>
            <a:chExt cx="6053137" cy="6035675"/>
          </a:xfrm>
          <a:solidFill>
            <a:srgbClr val="343C3E"/>
          </a:solidFill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0D3A3AD-00AC-4181-929E-79C5E3C49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1803400"/>
              <a:ext cx="2720975" cy="2940050"/>
            </a:xfrm>
            <a:custGeom>
              <a:avLst/>
              <a:gdLst>
                <a:gd name="T0" fmla="*/ 2147483647 w 471"/>
                <a:gd name="T1" fmla="*/ 2147483647 h 509"/>
                <a:gd name="T2" fmla="*/ 2147483647 w 471"/>
                <a:gd name="T3" fmla="*/ 2147483647 h 509"/>
                <a:gd name="T4" fmla="*/ 2147483647 w 471"/>
                <a:gd name="T5" fmla="*/ 2147483647 h 509"/>
                <a:gd name="T6" fmla="*/ 2147483647 w 471"/>
                <a:gd name="T7" fmla="*/ 2147483647 h 509"/>
                <a:gd name="T8" fmla="*/ 2147483647 w 471"/>
                <a:gd name="T9" fmla="*/ 2147483647 h 509"/>
                <a:gd name="T10" fmla="*/ 2147483647 w 471"/>
                <a:gd name="T11" fmla="*/ 2147483647 h 509"/>
                <a:gd name="T12" fmla="*/ 2147483647 w 471"/>
                <a:gd name="T13" fmla="*/ 2147483647 h 509"/>
                <a:gd name="T14" fmla="*/ 2147483647 w 471"/>
                <a:gd name="T15" fmla="*/ 2147483647 h 509"/>
                <a:gd name="T16" fmla="*/ 2147483647 w 471"/>
                <a:gd name="T17" fmla="*/ 0 h 509"/>
                <a:gd name="T18" fmla="*/ 2147483647 w 471"/>
                <a:gd name="T19" fmla="*/ 2147483647 h 509"/>
                <a:gd name="T20" fmla="*/ 2147483647 w 471"/>
                <a:gd name="T21" fmla="*/ 2147483647 h 509"/>
                <a:gd name="T22" fmla="*/ 2147483647 w 471"/>
                <a:gd name="T23" fmla="*/ 2147483647 h 509"/>
                <a:gd name="T24" fmla="*/ 2147483647 w 471"/>
                <a:gd name="T25" fmla="*/ 2147483647 h 509"/>
                <a:gd name="T26" fmla="*/ 2147483647 w 471"/>
                <a:gd name="T27" fmla="*/ 2147483647 h 509"/>
                <a:gd name="T28" fmla="*/ 0 w 471"/>
                <a:gd name="T29" fmla="*/ 2147483647 h 509"/>
                <a:gd name="T30" fmla="*/ 0 w 471"/>
                <a:gd name="T31" fmla="*/ 2147483647 h 509"/>
                <a:gd name="T32" fmla="*/ 2147483647 w 471"/>
                <a:gd name="T33" fmla="*/ 2147483647 h 509"/>
                <a:gd name="T34" fmla="*/ 2147483647 w 471"/>
                <a:gd name="T35" fmla="*/ 2147483647 h 509"/>
                <a:gd name="T36" fmla="*/ 2147483647 w 471"/>
                <a:gd name="T37" fmla="*/ 2147483647 h 50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71"/>
                <a:gd name="T58" fmla="*/ 0 h 509"/>
                <a:gd name="T59" fmla="*/ 471 w 471"/>
                <a:gd name="T60" fmla="*/ 509 h 50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71" h="509">
                  <a:moveTo>
                    <a:pt x="144" y="462"/>
                  </a:moveTo>
                  <a:cubicBezTo>
                    <a:pt x="144" y="407"/>
                    <a:pt x="144" y="407"/>
                    <a:pt x="144" y="407"/>
                  </a:cubicBezTo>
                  <a:cubicBezTo>
                    <a:pt x="144" y="406"/>
                    <a:pt x="144" y="405"/>
                    <a:pt x="144" y="403"/>
                  </a:cubicBezTo>
                  <a:cubicBezTo>
                    <a:pt x="143" y="390"/>
                    <a:pt x="148" y="338"/>
                    <a:pt x="227" y="323"/>
                  </a:cubicBezTo>
                  <a:cubicBezTo>
                    <a:pt x="423" y="323"/>
                    <a:pt x="423" y="323"/>
                    <a:pt x="423" y="323"/>
                  </a:cubicBezTo>
                  <a:cubicBezTo>
                    <a:pt x="449" y="323"/>
                    <a:pt x="471" y="302"/>
                    <a:pt x="471" y="275"/>
                  </a:cubicBezTo>
                  <a:cubicBezTo>
                    <a:pt x="471" y="49"/>
                    <a:pt x="471" y="49"/>
                    <a:pt x="471" y="49"/>
                  </a:cubicBezTo>
                  <a:cubicBezTo>
                    <a:pt x="471" y="22"/>
                    <a:pt x="450" y="1"/>
                    <a:pt x="423" y="1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66" y="0"/>
                    <a:pt x="144" y="22"/>
                    <a:pt x="144" y="48"/>
                  </a:cubicBezTo>
                  <a:cubicBezTo>
                    <a:pt x="144" y="275"/>
                    <a:pt x="144" y="275"/>
                    <a:pt x="144" y="275"/>
                  </a:cubicBezTo>
                  <a:cubicBezTo>
                    <a:pt x="144" y="277"/>
                    <a:pt x="144" y="279"/>
                    <a:pt x="144" y="281"/>
                  </a:cubicBezTo>
                  <a:cubicBezTo>
                    <a:pt x="142" y="308"/>
                    <a:pt x="131" y="346"/>
                    <a:pt x="89" y="359"/>
                  </a:cubicBezTo>
                  <a:cubicBezTo>
                    <a:pt x="48" y="359"/>
                    <a:pt x="48" y="359"/>
                    <a:pt x="48" y="359"/>
                  </a:cubicBezTo>
                  <a:cubicBezTo>
                    <a:pt x="21" y="359"/>
                    <a:pt x="0" y="380"/>
                    <a:pt x="0" y="407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88"/>
                    <a:pt x="21" y="509"/>
                    <a:pt x="48" y="509"/>
                  </a:cubicBezTo>
                  <a:cubicBezTo>
                    <a:pt x="96" y="509"/>
                    <a:pt x="96" y="509"/>
                    <a:pt x="96" y="509"/>
                  </a:cubicBezTo>
                  <a:cubicBezTo>
                    <a:pt x="122" y="509"/>
                    <a:pt x="144" y="488"/>
                    <a:pt x="144" y="462"/>
                  </a:cubicBezTo>
                  <a:close/>
                </a:path>
              </a:pathLst>
            </a:custGeom>
            <a:solidFill>
              <a:srgbClr val="00817D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8D4C6621-FEF8-41C2-A05E-01C59A1F1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925" y="3975100"/>
              <a:ext cx="2944813" cy="2714625"/>
            </a:xfrm>
            <a:custGeom>
              <a:avLst/>
              <a:gdLst>
                <a:gd name="T0" fmla="*/ 2147483647 w 510"/>
                <a:gd name="T1" fmla="*/ 2147483647 h 470"/>
                <a:gd name="T2" fmla="*/ 2147483647 w 510"/>
                <a:gd name="T3" fmla="*/ 2147483647 h 470"/>
                <a:gd name="T4" fmla="*/ 2147483647 w 510"/>
                <a:gd name="T5" fmla="*/ 2147483647 h 470"/>
                <a:gd name="T6" fmla="*/ 2147483647 w 510"/>
                <a:gd name="T7" fmla="*/ 2147483647 h 470"/>
                <a:gd name="T8" fmla="*/ 2147483647 w 510"/>
                <a:gd name="T9" fmla="*/ 2147483647 h 470"/>
                <a:gd name="T10" fmla="*/ 2147483647 w 510"/>
                <a:gd name="T11" fmla="*/ 0 h 470"/>
                <a:gd name="T12" fmla="*/ 2147483647 w 510"/>
                <a:gd name="T13" fmla="*/ 0 h 470"/>
                <a:gd name="T14" fmla="*/ 0 w 510"/>
                <a:gd name="T15" fmla="*/ 2147483647 h 470"/>
                <a:gd name="T16" fmla="*/ 0 w 510"/>
                <a:gd name="T17" fmla="*/ 2147483647 h 470"/>
                <a:gd name="T18" fmla="*/ 2147483647 w 510"/>
                <a:gd name="T19" fmla="*/ 2147483647 h 470"/>
                <a:gd name="T20" fmla="*/ 2147483647 w 510"/>
                <a:gd name="T21" fmla="*/ 2147483647 h 470"/>
                <a:gd name="T22" fmla="*/ 2147483647 w 510"/>
                <a:gd name="T23" fmla="*/ 2147483647 h 470"/>
                <a:gd name="T24" fmla="*/ 2147483647 w 510"/>
                <a:gd name="T25" fmla="*/ 2147483647 h 470"/>
                <a:gd name="T26" fmla="*/ 2147483647 w 510"/>
                <a:gd name="T27" fmla="*/ 2147483647 h 470"/>
                <a:gd name="T28" fmla="*/ 2147483647 w 510"/>
                <a:gd name="T29" fmla="*/ 2147483647 h 470"/>
                <a:gd name="T30" fmla="*/ 2147483647 w 510"/>
                <a:gd name="T31" fmla="*/ 2147483647 h 470"/>
                <a:gd name="T32" fmla="*/ 2147483647 w 510"/>
                <a:gd name="T33" fmla="*/ 2147483647 h 470"/>
                <a:gd name="T34" fmla="*/ 2147483647 w 510"/>
                <a:gd name="T35" fmla="*/ 2147483647 h 470"/>
                <a:gd name="T36" fmla="*/ 2147483647 w 510"/>
                <a:gd name="T37" fmla="*/ 2147483647 h 47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10"/>
                <a:gd name="T58" fmla="*/ 0 h 470"/>
                <a:gd name="T59" fmla="*/ 510 w 510"/>
                <a:gd name="T60" fmla="*/ 470 h 47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10" h="470">
                  <a:moveTo>
                    <a:pt x="462" y="326"/>
                  </a:moveTo>
                  <a:cubicBezTo>
                    <a:pt x="407" y="326"/>
                    <a:pt x="407" y="326"/>
                    <a:pt x="407" y="326"/>
                  </a:cubicBezTo>
                  <a:cubicBezTo>
                    <a:pt x="406" y="326"/>
                    <a:pt x="405" y="326"/>
                    <a:pt x="404" y="327"/>
                  </a:cubicBezTo>
                  <a:cubicBezTo>
                    <a:pt x="390" y="327"/>
                    <a:pt x="338" y="322"/>
                    <a:pt x="323" y="244"/>
                  </a:cubicBezTo>
                  <a:cubicBezTo>
                    <a:pt x="323" y="48"/>
                    <a:pt x="323" y="48"/>
                    <a:pt x="323" y="48"/>
                  </a:cubicBezTo>
                  <a:cubicBezTo>
                    <a:pt x="323" y="21"/>
                    <a:pt x="302" y="0"/>
                    <a:pt x="27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305"/>
                    <a:pt x="22" y="326"/>
                    <a:pt x="48" y="326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7" y="326"/>
                    <a:pt x="279" y="326"/>
                    <a:pt x="281" y="326"/>
                  </a:cubicBezTo>
                  <a:cubicBezTo>
                    <a:pt x="309" y="328"/>
                    <a:pt x="346" y="339"/>
                    <a:pt x="359" y="381"/>
                  </a:cubicBezTo>
                  <a:cubicBezTo>
                    <a:pt x="359" y="422"/>
                    <a:pt x="359" y="422"/>
                    <a:pt x="359" y="422"/>
                  </a:cubicBezTo>
                  <a:cubicBezTo>
                    <a:pt x="359" y="449"/>
                    <a:pt x="380" y="470"/>
                    <a:pt x="407" y="470"/>
                  </a:cubicBezTo>
                  <a:cubicBezTo>
                    <a:pt x="462" y="470"/>
                    <a:pt x="462" y="470"/>
                    <a:pt x="462" y="470"/>
                  </a:cubicBezTo>
                  <a:cubicBezTo>
                    <a:pt x="488" y="470"/>
                    <a:pt x="510" y="449"/>
                    <a:pt x="510" y="422"/>
                  </a:cubicBezTo>
                  <a:cubicBezTo>
                    <a:pt x="510" y="374"/>
                    <a:pt x="510" y="374"/>
                    <a:pt x="510" y="374"/>
                  </a:cubicBezTo>
                  <a:cubicBezTo>
                    <a:pt x="510" y="348"/>
                    <a:pt x="488" y="326"/>
                    <a:pt x="462" y="326"/>
                  </a:cubicBezTo>
                  <a:close/>
                </a:path>
              </a:pathLst>
            </a:custGeom>
            <a:solidFill>
              <a:srgbClr val="85BBC3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68081EC-FF09-4903-9E4C-05C2116D1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654050"/>
              <a:ext cx="2940050" cy="2720975"/>
            </a:xfrm>
            <a:custGeom>
              <a:avLst/>
              <a:gdLst>
                <a:gd name="T0" fmla="*/ 2147483647 w 509"/>
                <a:gd name="T1" fmla="*/ 2147483647 h 471"/>
                <a:gd name="T2" fmla="*/ 2147483647 w 509"/>
                <a:gd name="T3" fmla="*/ 2147483647 h 471"/>
                <a:gd name="T4" fmla="*/ 2147483647 w 509"/>
                <a:gd name="T5" fmla="*/ 2147483647 h 471"/>
                <a:gd name="T6" fmla="*/ 2147483647 w 509"/>
                <a:gd name="T7" fmla="*/ 2147483647 h 471"/>
                <a:gd name="T8" fmla="*/ 2147483647 w 509"/>
                <a:gd name="T9" fmla="*/ 2147483647 h 471"/>
                <a:gd name="T10" fmla="*/ 2147483647 w 509"/>
                <a:gd name="T11" fmla="*/ 2147483647 h 471"/>
                <a:gd name="T12" fmla="*/ 2147483647 w 509"/>
                <a:gd name="T13" fmla="*/ 2147483647 h 471"/>
                <a:gd name="T14" fmla="*/ 2147483647 w 509"/>
                <a:gd name="T15" fmla="*/ 2147483647 h 471"/>
                <a:gd name="T16" fmla="*/ 2147483647 w 509"/>
                <a:gd name="T17" fmla="*/ 2147483647 h 471"/>
                <a:gd name="T18" fmla="*/ 2147483647 w 509"/>
                <a:gd name="T19" fmla="*/ 2147483647 h 471"/>
                <a:gd name="T20" fmla="*/ 2147483647 w 509"/>
                <a:gd name="T21" fmla="*/ 2147483647 h 471"/>
                <a:gd name="T22" fmla="*/ 2147483647 w 509"/>
                <a:gd name="T23" fmla="*/ 2147483647 h 471"/>
                <a:gd name="T24" fmla="*/ 2147483647 w 509"/>
                <a:gd name="T25" fmla="*/ 2147483647 h 471"/>
                <a:gd name="T26" fmla="*/ 2147483647 w 509"/>
                <a:gd name="T27" fmla="*/ 2147483647 h 471"/>
                <a:gd name="T28" fmla="*/ 2147483647 w 509"/>
                <a:gd name="T29" fmla="*/ 0 h 471"/>
                <a:gd name="T30" fmla="*/ 2147483647 w 509"/>
                <a:gd name="T31" fmla="*/ 0 h 471"/>
                <a:gd name="T32" fmla="*/ 0 w 509"/>
                <a:gd name="T33" fmla="*/ 2147483647 h 471"/>
                <a:gd name="T34" fmla="*/ 0 w 509"/>
                <a:gd name="T35" fmla="*/ 2147483647 h 471"/>
                <a:gd name="T36" fmla="*/ 2147483647 w 509"/>
                <a:gd name="T37" fmla="*/ 2147483647 h 47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09"/>
                <a:gd name="T58" fmla="*/ 0 h 471"/>
                <a:gd name="T59" fmla="*/ 509 w 509"/>
                <a:gd name="T60" fmla="*/ 471 h 47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09" h="471">
                  <a:moveTo>
                    <a:pt x="48" y="144"/>
                  </a:moveTo>
                  <a:cubicBezTo>
                    <a:pt x="102" y="144"/>
                    <a:pt x="102" y="144"/>
                    <a:pt x="102" y="144"/>
                  </a:cubicBezTo>
                  <a:cubicBezTo>
                    <a:pt x="104" y="144"/>
                    <a:pt x="105" y="144"/>
                    <a:pt x="106" y="144"/>
                  </a:cubicBezTo>
                  <a:cubicBezTo>
                    <a:pt x="120" y="143"/>
                    <a:pt x="171" y="148"/>
                    <a:pt x="186" y="227"/>
                  </a:cubicBezTo>
                  <a:cubicBezTo>
                    <a:pt x="186" y="423"/>
                    <a:pt x="186" y="423"/>
                    <a:pt x="186" y="423"/>
                  </a:cubicBezTo>
                  <a:cubicBezTo>
                    <a:pt x="186" y="449"/>
                    <a:pt x="207" y="471"/>
                    <a:pt x="234" y="471"/>
                  </a:cubicBezTo>
                  <a:cubicBezTo>
                    <a:pt x="461" y="471"/>
                    <a:pt x="461" y="471"/>
                    <a:pt x="461" y="471"/>
                  </a:cubicBezTo>
                  <a:cubicBezTo>
                    <a:pt x="487" y="471"/>
                    <a:pt x="509" y="450"/>
                    <a:pt x="509" y="423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9" y="166"/>
                    <a:pt x="488" y="144"/>
                    <a:pt x="461" y="144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2" y="144"/>
                    <a:pt x="230" y="144"/>
                    <a:pt x="228" y="144"/>
                  </a:cubicBezTo>
                  <a:cubicBezTo>
                    <a:pt x="201" y="142"/>
                    <a:pt x="164" y="131"/>
                    <a:pt x="151" y="89"/>
                  </a:cubicBezTo>
                  <a:cubicBezTo>
                    <a:pt x="151" y="48"/>
                    <a:pt x="151" y="48"/>
                    <a:pt x="151" y="48"/>
                  </a:cubicBezTo>
                  <a:cubicBezTo>
                    <a:pt x="151" y="21"/>
                    <a:pt x="129" y="0"/>
                    <a:pt x="10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22"/>
                    <a:pt x="21" y="144"/>
                    <a:pt x="48" y="144"/>
                  </a:cubicBezTo>
                  <a:close/>
                </a:path>
              </a:pathLst>
            </a:custGeom>
            <a:solidFill>
              <a:srgbClr val="85BBC3"/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E63436C7-C8A0-42E1-AACE-3F9ABF0FC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625" y="2543175"/>
              <a:ext cx="2708275" cy="2990850"/>
            </a:xfrm>
            <a:custGeom>
              <a:avLst/>
              <a:gdLst>
                <a:gd name="T0" fmla="*/ 2147483647 w 469"/>
                <a:gd name="T1" fmla="*/ 2147483647 h 518"/>
                <a:gd name="T2" fmla="*/ 2147483647 w 469"/>
                <a:gd name="T3" fmla="*/ 2147483647 h 518"/>
                <a:gd name="T4" fmla="*/ 2147483647 w 469"/>
                <a:gd name="T5" fmla="*/ 2147483647 h 518"/>
                <a:gd name="T6" fmla="*/ 2147483647 w 469"/>
                <a:gd name="T7" fmla="*/ 2147483647 h 518"/>
                <a:gd name="T8" fmla="*/ 2147483647 w 469"/>
                <a:gd name="T9" fmla="*/ 2147483647 h 518"/>
                <a:gd name="T10" fmla="*/ 2147483647 w 469"/>
                <a:gd name="T11" fmla="*/ 2147483647 h 518"/>
                <a:gd name="T12" fmla="*/ 2147483647 w 469"/>
                <a:gd name="T13" fmla="*/ 2147483647 h 518"/>
                <a:gd name="T14" fmla="*/ 2147483647 w 469"/>
                <a:gd name="T15" fmla="*/ 2147483647 h 518"/>
                <a:gd name="T16" fmla="*/ 2147483647 w 469"/>
                <a:gd name="T17" fmla="*/ 2147483647 h 518"/>
                <a:gd name="T18" fmla="*/ 2147483647 w 469"/>
                <a:gd name="T19" fmla="*/ 2147483647 h 518"/>
                <a:gd name="T20" fmla="*/ 2147483647 w 469"/>
                <a:gd name="T21" fmla="*/ 2147483647 h 518"/>
                <a:gd name="T22" fmla="*/ 2147483647 w 469"/>
                <a:gd name="T23" fmla="*/ 2147483647 h 518"/>
                <a:gd name="T24" fmla="*/ 2147483647 w 469"/>
                <a:gd name="T25" fmla="*/ 2147483647 h 518"/>
                <a:gd name="T26" fmla="*/ 2147483647 w 469"/>
                <a:gd name="T27" fmla="*/ 2147483647 h 518"/>
                <a:gd name="T28" fmla="*/ 2147483647 w 469"/>
                <a:gd name="T29" fmla="*/ 2147483647 h 518"/>
                <a:gd name="T30" fmla="*/ 2147483647 w 469"/>
                <a:gd name="T31" fmla="*/ 2147483647 h 518"/>
                <a:gd name="T32" fmla="*/ 2147483647 w 469"/>
                <a:gd name="T33" fmla="*/ 2147483647 h 518"/>
                <a:gd name="T34" fmla="*/ 2147483647 w 469"/>
                <a:gd name="T35" fmla="*/ 2147483647 h 518"/>
                <a:gd name="T36" fmla="*/ 2147483647 w 469"/>
                <a:gd name="T37" fmla="*/ 2147483647 h 51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69"/>
                <a:gd name="T58" fmla="*/ 0 h 518"/>
                <a:gd name="T59" fmla="*/ 469 w 469"/>
                <a:gd name="T60" fmla="*/ 518 h 51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69" h="518">
                  <a:moveTo>
                    <a:pt x="323" y="51"/>
                  </a:moveTo>
                  <a:cubicBezTo>
                    <a:pt x="325" y="105"/>
                    <a:pt x="325" y="105"/>
                    <a:pt x="325" y="105"/>
                  </a:cubicBezTo>
                  <a:cubicBezTo>
                    <a:pt x="325" y="106"/>
                    <a:pt x="325" y="107"/>
                    <a:pt x="325" y="109"/>
                  </a:cubicBezTo>
                  <a:cubicBezTo>
                    <a:pt x="325" y="122"/>
                    <a:pt x="322" y="174"/>
                    <a:pt x="244" y="191"/>
                  </a:cubicBezTo>
                  <a:cubicBezTo>
                    <a:pt x="48" y="195"/>
                    <a:pt x="48" y="195"/>
                    <a:pt x="48" y="195"/>
                  </a:cubicBezTo>
                  <a:cubicBezTo>
                    <a:pt x="21" y="195"/>
                    <a:pt x="0" y="217"/>
                    <a:pt x="1" y="244"/>
                  </a:cubicBezTo>
                  <a:cubicBezTo>
                    <a:pt x="5" y="470"/>
                    <a:pt x="5" y="470"/>
                    <a:pt x="5" y="470"/>
                  </a:cubicBezTo>
                  <a:cubicBezTo>
                    <a:pt x="6" y="497"/>
                    <a:pt x="28" y="518"/>
                    <a:pt x="54" y="517"/>
                  </a:cubicBezTo>
                  <a:cubicBezTo>
                    <a:pt x="285" y="513"/>
                    <a:pt x="285" y="513"/>
                    <a:pt x="285" y="513"/>
                  </a:cubicBezTo>
                  <a:cubicBezTo>
                    <a:pt x="311" y="512"/>
                    <a:pt x="332" y="490"/>
                    <a:pt x="332" y="464"/>
                  </a:cubicBezTo>
                  <a:cubicBezTo>
                    <a:pt x="327" y="237"/>
                    <a:pt x="327" y="237"/>
                    <a:pt x="327" y="237"/>
                  </a:cubicBezTo>
                  <a:cubicBezTo>
                    <a:pt x="327" y="235"/>
                    <a:pt x="327" y="233"/>
                    <a:pt x="327" y="231"/>
                  </a:cubicBezTo>
                  <a:cubicBezTo>
                    <a:pt x="329" y="204"/>
                    <a:pt x="339" y="166"/>
                    <a:pt x="380" y="152"/>
                  </a:cubicBezTo>
                  <a:cubicBezTo>
                    <a:pt x="422" y="151"/>
                    <a:pt x="422" y="151"/>
                    <a:pt x="422" y="151"/>
                  </a:cubicBezTo>
                  <a:cubicBezTo>
                    <a:pt x="448" y="151"/>
                    <a:pt x="469" y="129"/>
                    <a:pt x="469" y="102"/>
                  </a:cubicBezTo>
                  <a:cubicBezTo>
                    <a:pt x="467" y="48"/>
                    <a:pt x="467" y="48"/>
                    <a:pt x="467" y="48"/>
                  </a:cubicBezTo>
                  <a:cubicBezTo>
                    <a:pt x="467" y="21"/>
                    <a:pt x="445" y="0"/>
                    <a:pt x="418" y="1"/>
                  </a:cubicBezTo>
                  <a:cubicBezTo>
                    <a:pt x="370" y="2"/>
                    <a:pt x="370" y="2"/>
                    <a:pt x="370" y="2"/>
                  </a:cubicBezTo>
                  <a:cubicBezTo>
                    <a:pt x="344" y="2"/>
                    <a:pt x="323" y="24"/>
                    <a:pt x="323" y="51"/>
                  </a:cubicBezTo>
                  <a:close/>
                </a:path>
              </a:pathLst>
            </a:custGeom>
            <a:solidFill>
              <a:srgbClr val="00817D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3FACC2C3-B8E2-48F3-9389-2DFD75653E91}"/>
              </a:ext>
            </a:extLst>
          </p:cNvPr>
          <p:cNvGrpSpPr/>
          <p:nvPr/>
        </p:nvGrpSpPr>
        <p:grpSpPr>
          <a:xfrm>
            <a:off x="4025048" y="2221876"/>
            <a:ext cx="1620957" cy="1051549"/>
            <a:chOff x="2217794" y="1976212"/>
            <a:chExt cx="1620957" cy="1051549"/>
          </a:xfrm>
        </p:grpSpPr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3868041C-3524-4173-BD08-2E345AA63F35}"/>
                </a:ext>
              </a:extLst>
            </p:cNvPr>
            <p:cNvSpPr/>
            <p:nvPr/>
          </p:nvSpPr>
          <p:spPr>
            <a:xfrm>
              <a:off x="2217794" y="1976212"/>
              <a:ext cx="162095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219170">
                <a:defRPr/>
              </a:pPr>
              <a:r>
                <a:rPr lang="zh-CN" altLang="en-US" sz="1400" b="1" kern="0" dirty="0">
                  <a:solidFill>
                    <a:schemeClr val="bg1"/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此处添加标题文本</a:t>
              </a:r>
              <a:endParaRPr lang="en-US" altLang="zh-CN" sz="14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8A483EE-0700-43BE-9084-573EA3AAFA5E}"/>
                </a:ext>
              </a:extLst>
            </p:cNvPr>
            <p:cNvSpPr txBox="1"/>
            <p:nvPr/>
          </p:nvSpPr>
          <p:spPr>
            <a:xfrm>
              <a:off x="2273416" y="2242931"/>
              <a:ext cx="1509712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900" dirty="0" err="1">
                  <a:solidFill>
                    <a:schemeClr val="bg1"/>
                  </a:solidFill>
                </a:rPr>
                <a:t>urna</a:t>
              </a:r>
              <a:r>
                <a:rPr lang="en-US" altLang="zh-CN" sz="900" dirty="0">
                  <a:solidFill>
                    <a:schemeClr val="bg1"/>
                  </a:solidFill>
                </a:rPr>
                <a:t>.</a:t>
              </a:r>
              <a:endParaRPr lang="zh-CN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03F62EE0-EFC8-4819-BB4A-46649884611B}"/>
              </a:ext>
            </a:extLst>
          </p:cNvPr>
          <p:cNvGrpSpPr/>
          <p:nvPr/>
        </p:nvGrpSpPr>
        <p:grpSpPr>
          <a:xfrm>
            <a:off x="6214210" y="1957711"/>
            <a:ext cx="1620957" cy="1051549"/>
            <a:chOff x="2217794" y="1976212"/>
            <a:chExt cx="1620957" cy="1051549"/>
          </a:xfrm>
        </p:grpSpPr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50F2AA50-F04F-411F-8075-36DBD06F426A}"/>
                </a:ext>
              </a:extLst>
            </p:cNvPr>
            <p:cNvSpPr/>
            <p:nvPr/>
          </p:nvSpPr>
          <p:spPr>
            <a:xfrm>
              <a:off x="2217794" y="1976212"/>
              <a:ext cx="162095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219170">
                <a:defRPr/>
              </a:pPr>
              <a:r>
                <a:rPr lang="zh-CN" altLang="en-US" sz="1400" b="1" kern="0" dirty="0">
                  <a:solidFill>
                    <a:schemeClr val="bg1"/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此处添加标题文本</a:t>
              </a:r>
              <a:endParaRPr lang="en-US" altLang="zh-CN" sz="14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37A51C0C-9143-48BB-B781-1EFF760704DF}"/>
                </a:ext>
              </a:extLst>
            </p:cNvPr>
            <p:cNvSpPr txBox="1"/>
            <p:nvPr/>
          </p:nvSpPr>
          <p:spPr>
            <a:xfrm>
              <a:off x="2273416" y="2242931"/>
              <a:ext cx="1509712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900" dirty="0" err="1">
                  <a:solidFill>
                    <a:schemeClr val="bg1"/>
                  </a:solidFill>
                </a:rPr>
                <a:t>urna</a:t>
              </a:r>
              <a:r>
                <a:rPr lang="en-US" altLang="zh-CN" sz="900" dirty="0">
                  <a:solidFill>
                    <a:schemeClr val="bg1"/>
                  </a:solidFill>
                </a:rPr>
                <a:t>.</a:t>
              </a:r>
              <a:endParaRPr lang="zh-CN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A1511C8F-0CBA-41D7-A123-1046B12FAF02}"/>
              </a:ext>
            </a:extLst>
          </p:cNvPr>
          <p:cNvGrpSpPr/>
          <p:nvPr/>
        </p:nvGrpSpPr>
        <p:grpSpPr>
          <a:xfrm>
            <a:off x="6572985" y="4112896"/>
            <a:ext cx="1620957" cy="1051549"/>
            <a:chOff x="2217794" y="1976212"/>
            <a:chExt cx="1620957" cy="1051549"/>
          </a:xfrm>
        </p:grpSpPr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A84D13BF-5526-40C8-8F4E-FF3562A643FE}"/>
                </a:ext>
              </a:extLst>
            </p:cNvPr>
            <p:cNvSpPr/>
            <p:nvPr/>
          </p:nvSpPr>
          <p:spPr>
            <a:xfrm>
              <a:off x="2217794" y="1976212"/>
              <a:ext cx="162095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219170">
                <a:defRPr/>
              </a:pPr>
              <a:r>
                <a:rPr lang="zh-CN" altLang="en-US" sz="1400" b="1" kern="0" dirty="0">
                  <a:solidFill>
                    <a:schemeClr val="bg1"/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此处添加标题文本</a:t>
              </a:r>
              <a:endParaRPr lang="en-US" altLang="zh-CN" sz="14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3E2E8C2C-2A59-4970-8AAD-555FCD028C3B}"/>
                </a:ext>
              </a:extLst>
            </p:cNvPr>
            <p:cNvSpPr txBox="1"/>
            <p:nvPr/>
          </p:nvSpPr>
          <p:spPr>
            <a:xfrm>
              <a:off x="2273416" y="2242931"/>
              <a:ext cx="1509712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900" dirty="0" err="1">
                  <a:solidFill>
                    <a:schemeClr val="bg1"/>
                  </a:solidFill>
                </a:rPr>
                <a:t>urna</a:t>
              </a:r>
              <a:r>
                <a:rPr lang="en-US" altLang="zh-CN" sz="900" dirty="0">
                  <a:solidFill>
                    <a:schemeClr val="bg1"/>
                  </a:solidFill>
                </a:rPr>
                <a:t>.</a:t>
              </a:r>
              <a:endParaRPr lang="zh-CN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19815B80-9949-474D-8F31-EE0262C58958}"/>
              </a:ext>
            </a:extLst>
          </p:cNvPr>
          <p:cNvGrpSpPr/>
          <p:nvPr/>
        </p:nvGrpSpPr>
        <p:grpSpPr>
          <a:xfrm>
            <a:off x="4333657" y="4482476"/>
            <a:ext cx="1620957" cy="1051549"/>
            <a:chOff x="2217794" y="1976212"/>
            <a:chExt cx="1620957" cy="105154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34AEDDB3-058D-4F02-A3F9-5382C3C186F5}"/>
                </a:ext>
              </a:extLst>
            </p:cNvPr>
            <p:cNvSpPr/>
            <p:nvPr/>
          </p:nvSpPr>
          <p:spPr>
            <a:xfrm>
              <a:off x="2217794" y="1976212"/>
              <a:ext cx="1620957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1219170">
                <a:defRPr/>
              </a:pPr>
              <a:r>
                <a:rPr lang="zh-CN" altLang="en-US" sz="1400" b="1" kern="0" dirty="0">
                  <a:solidFill>
                    <a:schemeClr val="bg1"/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此处添加标题文本</a:t>
              </a:r>
              <a:endParaRPr lang="en-US" altLang="zh-CN" sz="14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CFB00716-A9B7-457C-BBF3-1B37EB93ABDA}"/>
                </a:ext>
              </a:extLst>
            </p:cNvPr>
            <p:cNvSpPr txBox="1"/>
            <p:nvPr/>
          </p:nvSpPr>
          <p:spPr>
            <a:xfrm>
              <a:off x="2273416" y="2242931"/>
              <a:ext cx="1509712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900" dirty="0" err="1">
                  <a:solidFill>
                    <a:schemeClr val="bg1"/>
                  </a:solidFill>
                </a:rPr>
                <a:t>urna</a:t>
              </a:r>
              <a:r>
                <a:rPr lang="en-US" altLang="zh-CN" sz="900" dirty="0">
                  <a:solidFill>
                    <a:schemeClr val="bg1"/>
                  </a:solidFill>
                </a:rPr>
                <a:t>.</a:t>
              </a:r>
              <a:endParaRPr lang="zh-CN" alt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文本框 26">
            <a:extLst>
              <a:ext uri="{FF2B5EF4-FFF2-40B4-BE49-F238E27FC236}">
                <a16:creationId xmlns:a16="http://schemas.microsoft.com/office/drawing/2014/main" id="{DBA07361-9594-47B3-894F-D03D9FCB8719}"/>
              </a:ext>
            </a:extLst>
          </p:cNvPr>
          <p:cNvSpPr txBox="1"/>
          <p:nvPr/>
        </p:nvSpPr>
        <p:spPr>
          <a:xfrm>
            <a:off x="762953" y="2426725"/>
            <a:ext cx="279209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ACE0B594-7496-429B-94C0-8935E68A41C7}"/>
              </a:ext>
            </a:extLst>
          </p:cNvPr>
          <p:cNvSpPr txBox="1"/>
          <p:nvPr/>
        </p:nvSpPr>
        <p:spPr>
          <a:xfrm>
            <a:off x="1098549" y="4966158"/>
            <a:ext cx="279209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B1A417DF-3D1A-41D0-B319-9F0D0240361A}"/>
              </a:ext>
            </a:extLst>
          </p:cNvPr>
          <p:cNvSpPr txBox="1"/>
          <p:nvPr/>
        </p:nvSpPr>
        <p:spPr>
          <a:xfrm>
            <a:off x="8602981" y="3975100"/>
            <a:ext cx="279209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26009508-66C2-4A28-8C74-DBCA868A7CA0}"/>
              </a:ext>
            </a:extLst>
          </p:cNvPr>
          <p:cNvSpPr txBox="1"/>
          <p:nvPr/>
        </p:nvSpPr>
        <p:spPr>
          <a:xfrm>
            <a:off x="8275638" y="1591457"/>
            <a:ext cx="279209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world-with-magnifying-glass_30946">
            <a:extLst>
              <a:ext uri="{FF2B5EF4-FFF2-40B4-BE49-F238E27FC236}">
                <a16:creationId xmlns:a16="http://schemas.microsoft.com/office/drawing/2014/main" id="{C3C943F5-F79C-4C89-BEE6-A2B271583C42}"/>
              </a:ext>
            </a:extLst>
          </p:cNvPr>
          <p:cNvSpPr>
            <a:spLocks noChangeAspect="1"/>
          </p:cNvSpPr>
          <p:nvPr/>
        </p:nvSpPr>
        <p:spPr bwMode="auto">
          <a:xfrm>
            <a:off x="3221380" y="4086611"/>
            <a:ext cx="445721" cy="504198"/>
          </a:xfrm>
          <a:custGeom>
            <a:avLst/>
            <a:gdLst>
              <a:gd name="T0" fmla="*/ 1507 w 1830"/>
              <a:gd name="T1" fmla="*/ 486 h 2073"/>
              <a:gd name="T2" fmla="*/ 1573 w 1830"/>
              <a:gd name="T3" fmla="*/ 523 h 2073"/>
              <a:gd name="T4" fmla="*/ 1560 w 1830"/>
              <a:gd name="T5" fmla="*/ 555 h 2073"/>
              <a:gd name="T6" fmla="*/ 1290 w 1830"/>
              <a:gd name="T7" fmla="*/ 1749 h 2073"/>
              <a:gd name="T8" fmla="*/ 643 w 1830"/>
              <a:gd name="T9" fmla="*/ 1789 h 2073"/>
              <a:gd name="T10" fmla="*/ 72 w 1830"/>
              <a:gd name="T11" fmla="*/ 559 h 2073"/>
              <a:gd name="T12" fmla="*/ 110 w 1830"/>
              <a:gd name="T13" fmla="*/ 479 h 2073"/>
              <a:gd name="T14" fmla="*/ 156 w 1830"/>
              <a:gd name="T15" fmla="*/ 403 h 2073"/>
              <a:gd name="T16" fmla="*/ 556 w 1830"/>
              <a:gd name="T17" fmla="*/ 73 h 2073"/>
              <a:gd name="T18" fmla="*/ 637 w 1830"/>
              <a:gd name="T19" fmla="*/ 43 h 2073"/>
              <a:gd name="T20" fmla="*/ 722 w 1830"/>
              <a:gd name="T21" fmla="*/ 21 h 2073"/>
              <a:gd name="T22" fmla="*/ 915 w 1830"/>
              <a:gd name="T23" fmla="*/ 0 h 2073"/>
              <a:gd name="T24" fmla="*/ 1107 w 1830"/>
              <a:gd name="T25" fmla="*/ 20 h 2073"/>
              <a:gd name="T26" fmla="*/ 1192 w 1830"/>
              <a:gd name="T27" fmla="*/ 43 h 2073"/>
              <a:gd name="T28" fmla="*/ 1273 w 1830"/>
              <a:gd name="T29" fmla="*/ 73 h 2073"/>
              <a:gd name="T30" fmla="*/ 1780 w 1830"/>
              <a:gd name="T31" fmla="*/ 1212 h 2073"/>
              <a:gd name="T32" fmla="*/ 1611 w 1830"/>
              <a:gd name="T33" fmla="*/ 657 h 2073"/>
              <a:gd name="T34" fmla="*/ 1596 w 1830"/>
              <a:gd name="T35" fmla="*/ 538 h 2073"/>
              <a:gd name="T36" fmla="*/ 990 w 1830"/>
              <a:gd name="T37" fmla="*/ 90 h 2073"/>
              <a:gd name="T38" fmla="*/ 1094 w 1830"/>
              <a:gd name="T39" fmla="*/ 164 h 2073"/>
              <a:gd name="T40" fmla="*/ 931 w 1830"/>
              <a:gd name="T41" fmla="*/ 265 h 2073"/>
              <a:gd name="T42" fmla="*/ 911 w 1830"/>
              <a:gd name="T43" fmla="*/ 294 h 2073"/>
              <a:gd name="T44" fmla="*/ 858 w 1830"/>
              <a:gd name="T45" fmla="*/ 334 h 2073"/>
              <a:gd name="T46" fmla="*/ 874 w 1830"/>
              <a:gd name="T47" fmla="*/ 406 h 2073"/>
              <a:gd name="T48" fmla="*/ 992 w 1830"/>
              <a:gd name="T49" fmla="*/ 329 h 2073"/>
              <a:gd name="T50" fmla="*/ 1091 w 1830"/>
              <a:gd name="T51" fmla="*/ 358 h 2073"/>
              <a:gd name="T52" fmla="*/ 1131 w 1830"/>
              <a:gd name="T53" fmla="*/ 410 h 2073"/>
              <a:gd name="T54" fmla="*/ 1091 w 1830"/>
              <a:gd name="T55" fmla="*/ 305 h 2073"/>
              <a:gd name="T56" fmla="*/ 1205 w 1830"/>
              <a:gd name="T57" fmla="*/ 406 h 2073"/>
              <a:gd name="T58" fmla="*/ 1209 w 1830"/>
              <a:gd name="T59" fmla="*/ 362 h 2073"/>
              <a:gd name="T60" fmla="*/ 1340 w 1830"/>
              <a:gd name="T61" fmla="*/ 398 h 2073"/>
              <a:gd name="T62" fmla="*/ 1229 w 1830"/>
              <a:gd name="T63" fmla="*/ 450 h 2073"/>
              <a:gd name="T64" fmla="*/ 1194 w 1830"/>
              <a:gd name="T65" fmla="*/ 476 h 2073"/>
              <a:gd name="T66" fmla="*/ 1098 w 1830"/>
              <a:gd name="T67" fmla="*/ 406 h 2073"/>
              <a:gd name="T68" fmla="*/ 894 w 1830"/>
              <a:gd name="T69" fmla="*/ 434 h 2073"/>
              <a:gd name="T70" fmla="*/ 743 w 1830"/>
              <a:gd name="T71" fmla="*/ 615 h 2073"/>
              <a:gd name="T72" fmla="*/ 573 w 1830"/>
              <a:gd name="T73" fmla="*/ 934 h 2073"/>
              <a:gd name="T74" fmla="*/ 1173 w 1830"/>
              <a:gd name="T75" fmla="*/ 1714 h 2073"/>
              <a:gd name="T76" fmla="*/ 310 w 1830"/>
              <a:gd name="T77" fmla="*/ 347 h 2073"/>
              <a:gd name="T78" fmla="*/ 379 w 1830"/>
              <a:gd name="T79" fmla="*/ 281 h 2073"/>
              <a:gd name="T80" fmla="*/ 436 w 1830"/>
              <a:gd name="T81" fmla="*/ 1014 h 2073"/>
              <a:gd name="T82" fmla="*/ 293 w 1830"/>
              <a:gd name="T83" fmla="*/ 933 h 2073"/>
              <a:gd name="T84" fmla="*/ 187 w 1830"/>
              <a:gd name="T85" fmla="*/ 805 h 2073"/>
              <a:gd name="T86" fmla="*/ 109 w 1830"/>
              <a:gd name="T87" fmla="*/ 752 h 2073"/>
              <a:gd name="T88" fmla="*/ 89 w 1830"/>
              <a:gd name="T89" fmla="*/ 907 h 2073"/>
              <a:gd name="T90" fmla="*/ 351 w 1830"/>
              <a:gd name="T91" fmla="*/ 1481 h 2073"/>
              <a:gd name="T92" fmla="*/ 367 w 1830"/>
              <a:gd name="T93" fmla="*/ 1356 h 2073"/>
              <a:gd name="T94" fmla="*/ 436 w 1830"/>
              <a:gd name="T95" fmla="*/ 1155 h 2073"/>
              <a:gd name="T96" fmla="*/ 436 w 1830"/>
              <a:gd name="T97" fmla="*/ 1014 h 2073"/>
              <a:gd name="T98" fmla="*/ 381 w 1830"/>
              <a:gd name="T99" fmla="*/ 279 h 2073"/>
              <a:gd name="T100" fmla="*/ 486 w 1830"/>
              <a:gd name="T101" fmla="*/ 205 h 2073"/>
              <a:gd name="T102" fmla="*/ 1394 w 1830"/>
              <a:gd name="T103" fmla="*/ 517 h 2073"/>
              <a:gd name="T104" fmla="*/ 1393 w 1830"/>
              <a:gd name="T105" fmla="*/ 515 h 2073"/>
              <a:gd name="T106" fmla="*/ 1435 w 1830"/>
              <a:gd name="T107" fmla="*/ 1549 h 2073"/>
              <a:gd name="T108" fmla="*/ 909 w 1830"/>
              <a:gd name="T109" fmla="*/ 639 h 2073"/>
              <a:gd name="T110" fmla="*/ 953 w 1830"/>
              <a:gd name="T111" fmla="*/ 714 h 2073"/>
              <a:gd name="T112" fmla="*/ 1391 w 1830"/>
              <a:gd name="T113" fmla="*/ 1474 h 2073"/>
              <a:gd name="T114" fmla="*/ 953 w 1830"/>
              <a:gd name="T115" fmla="*/ 714 h 2073"/>
              <a:gd name="T116" fmla="*/ 1341 w 1830"/>
              <a:gd name="T117" fmla="*/ 1647 h 2073"/>
              <a:gd name="T118" fmla="*/ 1741 w 1830"/>
              <a:gd name="T119" fmla="*/ 1817 h 2073"/>
              <a:gd name="T120" fmla="*/ 1538 w 1830"/>
              <a:gd name="T121" fmla="*/ 1989 h 2073"/>
              <a:gd name="T122" fmla="*/ 1764 w 1830"/>
              <a:gd name="T123" fmla="*/ 1859 h 2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30" h="2073">
                <a:moveTo>
                  <a:pt x="1560" y="555"/>
                </a:moveTo>
                <a:lnTo>
                  <a:pt x="1507" y="486"/>
                </a:lnTo>
                <a:lnTo>
                  <a:pt x="1516" y="474"/>
                </a:lnTo>
                <a:cubicBezTo>
                  <a:pt x="1532" y="494"/>
                  <a:pt x="1573" y="523"/>
                  <a:pt x="1573" y="523"/>
                </a:cubicBezTo>
                <a:cubicBezTo>
                  <a:pt x="1578" y="529"/>
                  <a:pt x="1585" y="534"/>
                  <a:pt x="1591" y="536"/>
                </a:cubicBezTo>
                <a:lnTo>
                  <a:pt x="1560" y="555"/>
                </a:lnTo>
                <a:close/>
                <a:moveTo>
                  <a:pt x="1266" y="1706"/>
                </a:moveTo>
                <a:lnTo>
                  <a:pt x="1290" y="1749"/>
                </a:lnTo>
                <a:cubicBezTo>
                  <a:pt x="1176" y="1800"/>
                  <a:pt x="1049" y="1830"/>
                  <a:pt x="915" y="1830"/>
                </a:cubicBezTo>
                <a:cubicBezTo>
                  <a:pt x="821" y="1830"/>
                  <a:pt x="729" y="1815"/>
                  <a:pt x="643" y="1789"/>
                </a:cubicBezTo>
                <a:cubicBezTo>
                  <a:pt x="271" y="1673"/>
                  <a:pt x="0" y="1325"/>
                  <a:pt x="0" y="915"/>
                </a:cubicBezTo>
                <a:cubicBezTo>
                  <a:pt x="0" y="788"/>
                  <a:pt x="26" y="668"/>
                  <a:pt x="72" y="559"/>
                </a:cubicBezTo>
                <a:lnTo>
                  <a:pt x="72" y="558"/>
                </a:lnTo>
                <a:cubicBezTo>
                  <a:pt x="84" y="531"/>
                  <a:pt x="96" y="505"/>
                  <a:pt x="110" y="479"/>
                </a:cubicBezTo>
                <a:cubicBezTo>
                  <a:pt x="111" y="479"/>
                  <a:pt x="111" y="478"/>
                  <a:pt x="111" y="478"/>
                </a:cubicBezTo>
                <a:cubicBezTo>
                  <a:pt x="125" y="452"/>
                  <a:pt x="140" y="428"/>
                  <a:pt x="156" y="403"/>
                </a:cubicBezTo>
                <a:cubicBezTo>
                  <a:pt x="156" y="403"/>
                  <a:pt x="156" y="403"/>
                  <a:pt x="157" y="403"/>
                </a:cubicBezTo>
                <a:cubicBezTo>
                  <a:pt x="255" y="258"/>
                  <a:pt x="393" y="143"/>
                  <a:pt x="556" y="73"/>
                </a:cubicBezTo>
                <a:cubicBezTo>
                  <a:pt x="560" y="72"/>
                  <a:pt x="564" y="70"/>
                  <a:pt x="568" y="69"/>
                </a:cubicBezTo>
                <a:cubicBezTo>
                  <a:pt x="590" y="59"/>
                  <a:pt x="613" y="51"/>
                  <a:pt x="637" y="43"/>
                </a:cubicBezTo>
                <a:cubicBezTo>
                  <a:pt x="643" y="41"/>
                  <a:pt x="648" y="40"/>
                  <a:pt x="654" y="38"/>
                </a:cubicBezTo>
                <a:cubicBezTo>
                  <a:pt x="677" y="32"/>
                  <a:pt x="699" y="26"/>
                  <a:pt x="722" y="21"/>
                </a:cubicBezTo>
                <a:cubicBezTo>
                  <a:pt x="728" y="19"/>
                  <a:pt x="735" y="18"/>
                  <a:pt x="742" y="17"/>
                </a:cubicBezTo>
                <a:cubicBezTo>
                  <a:pt x="798" y="6"/>
                  <a:pt x="856" y="0"/>
                  <a:pt x="915" y="0"/>
                </a:cubicBezTo>
                <a:cubicBezTo>
                  <a:pt x="975" y="0"/>
                  <a:pt x="1034" y="6"/>
                  <a:pt x="1091" y="17"/>
                </a:cubicBezTo>
                <a:cubicBezTo>
                  <a:pt x="1096" y="18"/>
                  <a:pt x="1102" y="19"/>
                  <a:pt x="1107" y="20"/>
                </a:cubicBezTo>
                <a:cubicBezTo>
                  <a:pt x="1131" y="26"/>
                  <a:pt x="1156" y="32"/>
                  <a:pt x="1179" y="39"/>
                </a:cubicBezTo>
                <a:cubicBezTo>
                  <a:pt x="1183" y="40"/>
                  <a:pt x="1188" y="41"/>
                  <a:pt x="1192" y="43"/>
                </a:cubicBezTo>
                <a:cubicBezTo>
                  <a:pt x="1218" y="51"/>
                  <a:pt x="1242" y="60"/>
                  <a:pt x="1267" y="70"/>
                </a:cubicBezTo>
                <a:cubicBezTo>
                  <a:pt x="1269" y="71"/>
                  <a:pt x="1271" y="72"/>
                  <a:pt x="1273" y="73"/>
                </a:cubicBezTo>
                <a:cubicBezTo>
                  <a:pt x="1601" y="212"/>
                  <a:pt x="1830" y="536"/>
                  <a:pt x="1830" y="915"/>
                </a:cubicBezTo>
                <a:cubicBezTo>
                  <a:pt x="1830" y="1019"/>
                  <a:pt x="1812" y="1119"/>
                  <a:pt x="1780" y="1212"/>
                </a:cubicBezTo>
                <a:cubicBezTo>
                  <a:pt x="1809" y="1065"/>
                  <a:pt x="1784" y="915"/>
                  <a:pt x="1709" y="784"/>
                </a:cubicBezTo>
                <a:cubicBezTo>
                  <a:pt x="1682" y="737"/>
                  <a:pt x="1649" y="695"/>
                  <a:pt x="1611" y="657"/>
                </a:cubicBezTo>
                <a:cubicBezTo>
                  <a:pt x="1612" y="655"/>
                  <a:pt x="1614" y="652"/>
                  <a:pt x="1614" y="652"/>
                </a:cubicBezTo>
                <a:cubicBezTo>
                  <a:pt x="1661" y="609"/>
                  <a:pt x="1608" y="550"/>
                  <a:pt x="1596" y="538"/>
                </a:cubicBezTo>
                <a:cubicBezTo>
                  <a:pt x="1611" y="542"/>
                  <a:pt x="1628" y="537"/>
                  <a:pt x="1640" y="532"/>
                </a:cubicBezTo>
                <a:cubicBezTo>
                  <a:pt x="1515" y="290"/>
                  <a:pt x="1274" y="117"/>
                  <a:pt x="990" y="90"/>
                </a:cubicBezTo>
                <a:cubicBezTo>
                  <a:pt x="924" y="154"/>
                  <a:pt x="1005" y="181"/>
                  <a:pt x="1005" y="181"/>
                </a:cubicBezTo>
                <a:cubicBezTo>
                  <a:pt x="1034" y="201"/>
                  <a:pt x="1094" y="164"/>
                  <a:pt x="1094" y="164"/>
                </a:cubicBezTo>
                <a:cubicBezTo>
                  <a:pt x="1119" y="192"/>
                  <a:pt x="1025" y="233"/>
                  <a:pt x="1025" y="233"/>
                </a:cubicBezTo>
                <a:cubicBezTo>
                  <a:pt x="972" y="237"/>
                  <a:pt x="931" y="265"/>
                  <a:pt x="931" y="265"/>
                </a:cubicBezTo>
                <a:cubicBezTo>
                  <a:pt x="906" y="229"/>
                  <a:pt x="882" y="257"/>
                  <a:pt x="882" y="257"/>
                </a:cubicBezTo>
                <a:cubicBezTo>
                  <a:pt x="862" y="281"/>
                  <a:pt x="911" y="294"/>
                  <a:pt x="911" y="294"/>
                </a:cubicBezTo>
                <a:cubicBezTo>
                  <a:pt x="943" y="301"/>
                  <a:pt x="935" y="322"/>
                  <a:pt x="923" y="334"/>
                </a:cubicBezTo>
                <a:cubicBezTo>
                  <a:pt x="911" y="346"/>
                  <a:pt x="858" y="334"/>
                  <a:pt x="858" y="334"/>
                </a:cubicBezTo>
                <a:cubicBezTo>
                  <a:pt x="829" y="350"/>
                  <a:pt x="849" y="406"/>
                  <a:pt x="849" y="406"/>
                </a:cubicBezTo>
                <a:lnTo>
                  <a:pt x="874" y="406"/>
                </a:lnTo>
                <a:cubicBezTo>
                  <a:pt x="955" y="430"/>
                  <a:pt x="960" y="370"/>
                  <a:pt x="960" y="370"/>
                </a:cubicBezTo>
                <a:cubicBezTo>
                  <a:pt x="984" y="370"/>
                  <a:pt x="992" y="329"/>
                  <a:pt x="992" y="329"/>
                </a:cubicBezTo>
                <a:cubicBezTo>
                  <a:pt x="1013" y="350"/>
                  <a:pt x="1062" y="318"/>
                  <a:pt x="1062" y="318"/>
                </a:cubicBezTo>
                <a:cubicBezTo>
                  <a:pt x="1066" y="334"/>
                  <a:pt x="1091" y="358"/>
                  <a:pt x="1091" y="358"/>
                </a:cubicBezTo>
                <a:cubicBezTo>
                  <a:pt x="1127" y="370"/>
                  <a:pt x="1135" y="386"/>
                  <a:pt x="1135" y="386"/>
                </a:cubicBezTo>
                <a:cubicBezTo>
                  <a:pt x="1098" y="394"/>
                  <a:pt x="1131" y="410"/>
                  <a:pt x="1131" y="410"/>
                </a:cubicBezTo>
                <a:cubicBezTo>
                  <a:pt x="1181" y="390"/>
                  <a:pt x="1143" y="362"/>
                  <a:pt x="1143" y="362"/>
                </a:cubicBezTo>
                <a:cubicBezTo>
                  <a:pt x="1050" y="317"/>
                  <a:pt x="1091" y="305"/>
                  <a:pt x="1091" y="305"/>
                </a:cubicBezTo>
                <a:cubicBezTo>
                  <a:pt x="1107" y="333"/>
                  <a:pt x="1172" y="345"/>
                  <a:pt x="1172" y="345"/>
                </a:cubicBezTo>
                <a:cubicBezTo>
                  <a:pt x="1181" y="398"/>
                  <a:pt x="1205" y="406"/>
                  <a:pt x="1205" y="406"/>
                </a:cubicBezTo>
                <a:cubicBezTo>
                  <a:pt x="1234" y="418"/>
                  <a:pt x="1242" y="394"/>
                  <a:pt x="1242" y="394"/>
                </a:cubicBezTo>
                <a:cubicBezTo>
                  <a:pt x="1213" y="386"/>
                  <a:pt x="1209" y="362"/>
                  <a:pt x="1209" y="362"/>
                </a:cubicBezTo>
                <a:cubicBezTo>
                  <a:pt x="1201" y="338"/>
                  <a:pt x="1238" y="354"/>
                  <a:pt x="1238" y="354"/>
                </a:cubicBezTo>
                <a:cubicBezTo>
                  <a:pt x="1270" y="402"/>
                  <a:pt x="1340" y="398"/>
                  <a:pt x="1340" y="398"/>
                </a:cubicBezTo>
                <a:cubicBezTo>
                  <a:pt x="1384" y="394"/>
                  <a:pt x="1372" y="474"/>
                  <a:pt x="1372" y="474"/>
                </a:cubicBezTo>
                <a:cubicBezTo>
                  <a:pt x="1323" y="507"/>
                  <a:pt x="1229" y="450"/>
                  <a:pt x="1229" y="450"/>
                </a:cubicBezTo>
                <a:cubicBezTo>
                  <a:pt x="1234" y="465"/>
                  <a:pt x="1225" y="473"/>
                  <a:pt x="1217" y="477"/>
                </a:cubicBezTo>
                <a:cubicBezTo>
                  <a:pt x="1209" y="477"/>
                  <a:pt x="1202" y="476"/>
                  <a:pt x="1194" y="476"/>
                </a:cubicBezTo>
                <a:cubicBezTo>
                  <a:pt x="1157" y="441"/>
                  <a:pt x="1107" y="458"/>
                  <a:pt x="1107" y="458"/>
                </a:cubicBezTo>
                <a:cubicBezTo>
                  <a:pt x="1119" y="438"/>
                  <a:pt x="1098" y="406"/>
                  <a:pt x="1098" y="406"/>
                </a:cubicBezTo>
                <a:cubicBezTo>
                  <a:pt x="1066" y="398"/>
                  <a:pt x="1013" y="414"/>
                  <a:pt x="1013" y="414"/>
                </a:cubicBezTo>
                <a:cubicBezTo>
                  <a:pt x="972" y="430"/>
                  <a:pt x="894" y="434"/>
                  <a:pt x="894" y="434"/>
                </a:cubicBezTo>
                <a:cubicBezTo>
                  <a:pt x="857" y="434"/>
                  <a:pt x="833" y="507"/>
                  <a:pt x="833" y="507"/>
                </a:cubicBezTo>
                <a:cubicBezTo>
                  <a:pt x="751" y="543"/>
                  <a:pt x="743" y="615"/>
                  <a:pt x="743" y="615"/>
                </a:cubicBezTo>
                <a:cubicBezTo>
                  <a:pt x="743" y="627"/>
                  <a:pt x="743" y="638"/>
                  <a:pt x="742" y="648"/>
                </a:cubicBezTo>
                <a:cubicBezTo>
                  <a:pt x="662" y="726"/>
                  <a:pt x="603" y="823"/>
                  <a:pt x="573" y="934"/>
                </a:cubicBezTo>
                <a:cubicBezTo>
                  <a:pt x="530" y="1094"/>
                  <a:pt x="552" y="1261"/>
                  <a:pt x="635" y="1404"/>
                </a:cubicBezTo>
                <a:cubicBezTo>
                  <a:pt x="745" y="1595"/>
                  <a:pt x="951" y="1714"/>
                  <a:pt x="1173" y="1714"/>
                </a:cubicBezTo>
                <a:cubicBezTo>
                  <a:pt x="1204" y="1714"/>
                  <a:pt x="1235" y="1711"/>
                  <a:pt x="1266" y="1706"/>
                </a:cubicBezTo>
                <a:close/>
                <a:moveTo>
                  <a:pt x="310" y="347"/>
                </a:moveTo>
                <a:cubicBezTo>
                  <a:pt x="318" y="343"/>
                  <a:pt x="326" y="340"/>
                  <a:pt x="334" y="337"/>
                </a:cubicBezTo>
                <a:cubicBezTo>
                  <a:pt x="334" y="337"/>
                  <a:pt x="411" y="329"/>
                  <a:pt x="379" y="281"/>
                </a:cubicBezTo>
                <a:cubicBezTo>
                  <a:pt x="355" y="302"/>
                  <a:pt x="332" y="324"/>
                  <a:pt x="310" y="347"/>
                </a:cubicBezTo>
                <a:close/>
                <a:moveTo>
                  <a:pt x="436" y="1014"/>
                </a:moveTo>
                <a:cubicBezTo>
                  <a:pt x="436" y="1014"/>
                  <a:pt x="424" y="974"/>
                  <a:pt x="363" y="974"/>
                </a:cubicBezTo>
                <a:cubicBezTo>
                  <a:pt x="363" y="974"/>
                  <a:pt x="326" y="933"/>
                  <a:pt x="293" y="933"/>
                </a:cubicBezTo>
                <a:cubicBezTo>
                  <a:pt x="293" y="933"/>
                  <a:pt x="281" y="821"/>
                  <a:pt x="220" y="845"/>
                </a:cubicBezTo>
                <a:cubicBezTo>
                  <a:pt x="220" y="845"/>
                  <a:pt x="211" y="801"/>
                  <a:pt x="187" y="805"/>
                </a:cubicBezTo>
                <a:cubicBezTo>
                  <a:pt x="187" y="805"/>
                  <a:pt x="171" y="760"/>
                  <a:pt x="142" y="773"/>
                </a:cubicBezTo>
                <a:lnTo>
                  <a:pt x="109" y="752"/>
                </a:lnTo>
                <a:cubicBezTo>
                  <a:pt x="109" y="752"/>
                  <a:pt x="106" y="757"/>
                  <a:pt x="101" y="766"/>
                </a:cubicBezTo>
                <a:cubicBezTo>
                  <a:pt x="93" y="812"/>
                  <a:pt x="89" y="859"/>
                  <a:pt x="89" y="907"/>
                </a:cubicBezTo>
                <a:cubicBezTo>
                  <a:pt x="89" y="1141"/>
                  <a:pt x="187" y="1352"/>
                  <a:pt x="344" y="1502"/>
                </a:cubicBezTo>
                <a:cubicBezTo>
                  <a:pt x="344" y="1495"/>
                  <a:pt x="346" y="1488"/>
                  <a:pt x="351" y="1481"/>
                </a:cubicBezTo>
                <a:cubicBezTo>
                  <a:pt x="351" y="1481"/>
                  <a:pt x="367" y="1449"/>
                  <a:pt x="346" y="1421"/>
                </a:cubicBezTo>
                <a:cubicBezTo>
                  <a:pt x="346" y="1421"/>
                  <a:pt x="367" y="1393"/>
                  <a:pt x="367" y="1356"/>
                </a:cubicBezTo>
                <a:cubicBezTo>
                  <a:pt x="367" y="1356"/>
                  <a:pt x="346" y="1292"/>
                  <a:pt x="399" y="1284"/>
                </a:cubicBezTo>
                <a:cubicBezTo>
                  <a:pt x="399" y="1284"/>
                  <a:pt x="473" y="1284"/>
                  <a:pt x="436" y="1155"/>
                </a:cubicBezTo>
                <a:cubicBezTo>
                  <a:pt x="436" y="1155"/>
                  <a:pt x="432" y="1119"/>
                  <a:pt x="461" y="1083"/>
                </a:cubicBezTo>
                <a:cubicBezTo>
                  <a:pt x="461" y="1083"/>
                  <a:pt x="490" y="1006"/>
                  <a:pt x="436" y="1014"/>
                </a:cubicBezTo>
                <a:close/>
                <a:moveTo>
                  <a:pt x="486" y="205"/>
                </a:moveTo>
                <a:cubicBezTo>
                  <a:pt x="449" y="227"/>
                  <a:pt x="414" y="252"/>
                  <a:pt x="381" y="279"/>
                </a:cubicBezTo>
                <a:cubicBezTo>
                  <a:pt x="400" y="281"/>
                  <a:pt x="478" y="287"/>
                  <a:pt x="483" y="242"/>
                </a:cubicBezTo>
                <a:lnTo>
                  <a:pt x="486" y="205"/>
                </a:lnTo>
                <a:close/>
                <a:moveTo>
                  <a:pt x="1393" y="515"/>
                </a:moveTo>
                <a:cubicBezTo>
                  <a:pt x="1393" y="515"/>
                  <a:pt x="1394" y="516"/>
                  <a:pt x="1394" y="517"/>
                </a:cubicBezTo>
                <a:cubicBezTo>
                  <a:pt x="1396" y="517"/>
                  <a:pt x="1397" y="518"/>
                  <a:pt x="1399" y="518"/>
                </a:cubicBezTo>
                <a:cubicBezTo>
                  <a:pt x="1397" y="517"/>
                  <a:pt x="1395" y="515"/>
                  <a:pt x="1393" y="515"/>
                </a:cubicBezTo>
                <a:close/>
                <a:moveTo>
                  <a:pt x="1627" y="831"/>
                </a:moveTo>
                <a:cubicBezTo>
                  <a:pt x="1772" y="1082"/>
                  <a:pt x="1686" y="1404"/>
                  <a:pt x="1435" y="1549"/>
                </a:cubicBezTo>
                <a:cubicBezTo>
                  <a:pt x="1184" y="1694"/>
                  <a:pt x="862" y="1608"/>
                  <a:pt x="717" y="1357"/>
                </a:cubicBezTo>
                <a:cubicBezTo>
                  <a:pt x="572" y="1106"/>
                  <a:pt x="659" y="784"/>
                  <a:pt x="909" y="639"/>
                </a:cubicBezTo>
                <a:cubicBezTo>
                  <a:pt x="1160" y="494"/>
                  <a:pt x="1482" y="580"/>
                  <a:pt x="1627" y="831"/>
                </a:cubicBezTo>
                <a:close/>
                <a:moveTo>
                  <a:pt x="953" y="714"/>
                </a:moveTo>
                <a:cubicBezTo>
                  <a:pt x="743" y="835"/>
                  <a:pt x="671" y="1104"/>
                  <a:pt x="792" y="1313"/>
                </a:cubicBezTo>
                <a:cubicBezTo>
                  <a:pt x="913" y="1523"/>
                  <a:pt x="1182" y="1595"/>
                  <a:pt x="1391" y="1474"/>
                </a:cubicBezTo>
                <a:cubicBezTo>
                  <a:pt x="1601" y="1353"/>
                  <a:pt x="1673" y="1084"/>
                  <a:pt x="1552" y="875"/>
                </a:cubicBezTo>
                <a:cubicBezTo>
                  <a:pt x="1431" y="666"/>
                  <a:pt x="1162" y="594"/>
                  <a:pt x="953" y="714"/>
                </a:cubicBezTo>
                <a:close/>
                <a:moveTo>
                  <a:pt x="1567" y="1517"/>
                </a:moveTo>
                <a:lnTo>
                  <a:pt x="1341" y="1647"/>
                </a:lnTo>
                <a:lnTo>
                  <a:pt x="1515" y="1948"/>
                </a:lnTo>
                <a:lnTo>
                  <a:pt x="1741" y="1817"/>
                </a:lnTo>
                <a:lnTo>
                  <a:pt x="1567" y="1517"/>
                </a:lnTo>
                <a:close/>
                <a:moveTo>
                  <a:pt x="1538" y="1989"/>
                </a:moveTo>
                <a:cubicBezTo>
                  <a:pt x="1574" y="2052"/>
                  <a:pt x="1654" y="2073"/>
                  <a:pt x="1717" y="2037"/>
                </a:cubicBezTo>
                <a:cubicBezTo>
                  <a:pt x="1779" y="2001"/>
                  <a:pt x="1800" y="1921"/>
                  <a:pt x="1764" y="1859"/>
                </a:cubicBezTo>
                <a:lnTo>
                  <a:pt x="1538" y="198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32" name="world-with-magnifying-glass_30946">
            <a:extLst>
              <a:ext uri="{FF2B5EF4-FFF2-40B4-BE49-F238E27FC236}">
                <a16:creationId xmlns:a16="http://schemas.microsoft.com/office/drawing/2014/main" id="{A3D4AF93-F5CB-4095-A560-4CC49469A951}"/>
              </a:ext>
            </a:extLst>
          </p:cNvPr>
          <p:cNvSpPr>
            <a:spLocks noChangeAspect="1"/>
          </p:cNvSpPr>
          <p:nvPr/>
        </p:nvSpPr>
        <p:spPr bwMode="auto">
          <a:xfrm>
            <a:off x="6482439" y="6094005"/>
            <a:ext cx="488868" cy="504198"/>
          </a:xfrm>
          <a:custGeom>
            <a:avLst/>
            <a:gdLst>
              <a:gd name="connsiteX0" fmla="*/ 548078 w 582139"/>
              <a:gd name="connsiteY0" fmla="*/ 324908 h 600393"/>
              <a:gd name="connsiteX1" fmla="*/ 551423 w 582139"/>
              <a:gd name="connsiteY1" fmla="*/ 327772 h 600393"/>
              <a:gd name="connsiteX2" fmla="*/ 579139 w 582139"/>
              <a:gd name="connsiteY2" fmla="*/ 394846 h 600393"/>
              <a:gd name="connsiteX3" fmla="*/ 520362 w 582139"/>
              <a:gd name="connsiteY3" fmla="*/ 451417 h 600393"/>
              <a:gd name="connsiteX4" fmla="*/ 483089 w 582139"/>
              <a:gd name="connsiteY4" fmla="*/ 379330 h 600393"/>
              <a:gd name="connsiteX5" fmla="*/ 548078 w 582139"/>
              <a:gd name="connsiteY5" fmla="*/ 324908 h 600393"/>
              <a:gd name="connsiteX6" fmla="*/ 63691 w 582139"/>
              <a:gd name="connsiteY6" fmla="*/ 316240 h 600393"/>
              <a:gd name="connsiteX7" fmla="*/ 86755 w 582139"/>
              <a:gd name="connsiteY7" fmla="*/ 321789 h 600393"/>
              <a:gd name="connsiteX8" fmla="*/ 106354 w 582139"/>
              <a:gd name="connsiteY8" fmla="*/ 406516 h 600393"/>
              <a:gd name="connsiteX9" fmla="*/ 33217 w 582139"/>
              <a:gd name="connsiteY9" fmla="*/ 444225 h 600393"/>
              <a:gd name="connsiteX10" fmla="*/ 4775 w 582139"/>
              <a:gd name="connsiteY10" fmla="*/ 360453 h 600393"/>
              <a:gd name="connsiteX11" fmla="*/ 43495 w 582139"/>
              <a:gd name="connsiteY11" fmla="*/ 325369 h 600393"/>
              <a:gd name="connsiteX12" fmla="*/ 63691 w 582139"/>
              <a:gd name="connsiteY12" fmla="*/ 316240 h 600393"/>
              <a:gd name="connsiteX13" fmla="*/ 482581 w 582139"/>
              <a:gd name="connsiteY13" fmla="*/ 142994 h 600393"/>
              <a:gd name="connsiteX14" fmla="*/ 547837 w 582139"/>
              <a:gd name="connsiteY14" fmla="*/ 176170 h 600393"/>
              <a:gd name="connsiteX15" fmla="*/ 547598 w 582139"/>
              <a:gd name="connsiteY15" fmla="*/ 223189 h 600393"/>
              <a:gd name="connsiteX16" fmla="*/ 554052 w 582139"/>
              <a:gd name="connsiteY16" fmla="*/ 297178 h 600393"/>
              <a:gd name="connsiteX17" fmla="*/ 535407 w 582139"/>
              <a:gd name="connsiteY17" fmla="*/ 302429 h 600393"/>
              <a:gd name="connsiteX18" fmla="*/ 529909 w 582139"/>
              <a:gd name="connsiteY18" fmla="*/ 203140 h 600393"/>
              <a:gd name="connsiteX19" fmla="*/ 508874 w 582139"/>
              <a:gd name="connsiteY19" fmla="*/ 163759 h 600393"/>
              <a:gd name="connsiteX20" fmla="*/ 465848 w 582139"/>
              <a:gd name="connsiteY20" fmla="*/ 164475 h 600393"/>
              <a:gd name="connsiteX21" fmla="*/ 315258 w 582139"/>
              <a:gd name="connsiteY21" fmla="*/ 247534 h 600393"/>
              <a:gd name="connsiteX22" fmla="*/ 317887 w 582139"/>
              <a:gd name="connsiteY22" fmla="*/ 272117 h 600393"/>
              <a:gd name="connsiteX23" fmla="*/ 314541 w 582139"/>
              <a:gd name="connsiteY23" fmla="*/ 358279 h 600393"/>
              <a:gd name="connsiteX24" fmla="*/ 315497 w 582139"/>
              <a:gd name="connsiteY24" fmla="*/ 583589 h 600393"/>
              <a:gd name="connsiteX25" fmla="*/ 354220 w 582139"/>
              <a:gd name="connsiteY25" fmla="*/ 562347 h 600393"/>
              <a:gd name="connsiteX26" fmla="*/ 408002 w 582139"/>
              <a:gd name="connsiteY26" fmla="*/ 532751 h 600393"/>
              <a:gd name="connsiteX27" fmla="*/ 526802 w 582139"/>
              <a:gd name="connsiteY27" fmla="*/ 522250 h 600393"/>
              <a:gd name="connsiteX28" fmla="*/ 532061 w 582139"/>
              <a:gd name="connsiteY28" fmla="*/ 491460 h 600393"/>
              <a:gd name="connsiteX29" fmla="*/ 542578 w 582139"/>
              <a:gd name="connsiteY29" fmla="*/ 491460 h 600393"/>
              <a:gd name="connsiteX30" fmla="*/ 546881 w 582139"/>
              <a:gd name="connsiteY30" fmla="*/ 535854 h 600393"/>
              <a:gd name="connsiteX31" fmla="*/ 534690 w 582139"/>
              <a:gd name="connsiteY31" fmla="*/ 545162 h 600393"/>
              <a:gd name="connsiteX32" fmla="*/ 391987 w 582139"/>
              <a:gd name="connsiteY32" fmla="*/ 562108 h 600393"/>
              <a:gd name="connsiteX33" fmla="*/ 341551 w 582139"/>
              <a:gd name="connsiteY33" fmla="*/ 589079 h 600393"/>
              <a:gd name="connsiteX34" fmla="*/ 314302 w 582139"/>
              <a:gd name="connsiteY34" fmla="*/ 598149 h 600393"/>
              <a:gd name="connsiteX35" fmla="*/ 311433 w 582139"/>
              <a:gd name="connsiteY35" fmla="*/ 596955 h 600393"/>
              <a:gd name="connsiteX36" fmla="*/ 307609 w 582139"/>
              <a:gd name="connsiteY36" fmla="*/ 598387 h 600393"/>
              <a:gd name="connsiteX37" fmla="*/ 295896 w 582139"/>
              <a:gd name="connsiteY37" fmla="*/ 597194 h 600393"/>
              <a:gd name="connsiteX38" fmla="*/ 63317 w 582139"/>
              <a:gd name="connsiteY38" fmla="*/ 546833 h 600393"/>
              <a:gd name="connsiteX39" fmla="*/ 51365 w 582139"/>
              <a:gd name="connsiteY39" fmla="*/ 537764 h 600393"/>
              <a:gd name="connsiteX40" fmla="*/ 56863 w 582139"/>
              <a:gd name="connsiteY40" fmla="*/ 481675 h 600393"/>
              <a:gd name="connsiteX41" fmla="*/ 68337 w 582139"/>
              <a:gd name="connsiteY41" fmla="*/ 481675 h 600393"/>
              <a:gd name="connsiteX42" fmla="*/ 70249 w 582139"/>
              <a:gd name="connsiteY42" fmla="*/ 525830 h 600393"/>
              <a:gd name="connsiteX43" fmla="*/ 297091 w 582139"/>
              <a:gd name="connsiteY43" fmla="*/ 570223 h 600393"/>
              <a:gd name="connsiteX44" fmla="*/ 295418 w 582139"/>
              <a:gd name="connsiteY44" fmla="*/ 457091 h 600393"/>
              <a:gd name="connsiteX45" fmla="*/ 294223 w 582139"/>
              <a:gd name="connsiteY45" fmla="*/ 370213 h 600393"/>
              <a:gd name="connsiteX46" fmla="*/ 298764 w 582139"/>
              <a:gd name="connsiteY46" fmla="*/ 289063 h 600393"/>
              <a:gd name="connsiteX47" fmla="*/ 293267 w 582139"/>
              <a:gd name="connsiteY47" fmla="*/ 241089 h 600393"/>
              <a:gd name="connsiteX48" fmla="*/ 151998 w 582139"/>
              <a:gd name="connsiteY48" fmla="*/ 176886 h 600393"/>
              <a:gd name="connsiteX49" fmla="*/ 91523 w 582139"/>
              <a:gd name="connsiteY49" fmla="*/ 172351 h 600393"/>
              <a:gd name="connsiteX50" fmla="*/ 71922 w 582139"/>
              <a:gd name="connsiteY50" fmla="*/ 197412 h 600393"/>
              <a:gd name="connsiteX51" fmla="*/ 62361 w 582139"/>
              <a:gd name="connsiteY51" fmla="*/ 295030 h 600393"/>
              <a:gd name="connsiteX52" fmla="*/ 63078 w 582139"/>
              <a:gd name="connsiteY52" fmla="*/ 297178 h 600393"/>
              <a:gd name="connsiteX53" fmla="*/ 54951 w 582139"/>
              <a:gd name="connsiteY53" fmla="*/ 311022 h 600393"/>
              <a:gd name="connsiteX54" fmla="*/ 53278 w 582139"/>
              <a:gd name="connsiteY54" fmla="*/ 311022 h 600393"/>
              <a:gd name="connsiteX55" fmla="*/ 43955 w 582139"/>
              <a:gd name="connsiteY55" fmla="*/ 301713 h 600393"/>
              <a:gd name="connsiteX56" fmla="*/ 57102 w 582139"/>
              <a:gd name="connsiteY56" fmla="*/ 172351 h 600393"/>
              <a:gd name="connsiteX57" fmla="*/ 142198 w 582139"/>
              <a:gd name="connsiteY57" fmla="*/ 155644 h 600393"/>
              <a:gd name="connsiteX58" fmla="*/ 309999 w 582139"/>
              <a:gd name="connsiteY58" fmla="*/ 230588 h 600393"/>
              <a:gd name="connsiteX59" fmla="*/ 482581 w 582139"/>
              <a:gd name="connsiteY59" fmla="*/ 142994 h 600393"/>
              <a:gd name="connsiteX60" fmla="*/ 283715 w 582139"/>
              <a:gd name="connsiteY60" fmla="*/ 525 h 600393"/>
              <a:gd name="connsiteX61" fmla="*/ 414444 w 582139"/>
              <a:gd name="connsiteY61" fmla="*/ 94816 h 600393"/>
              <a:gd name="connsiteX62" fmla="*/ 398671 w 582139"/>
              <a:gd name="connsiteY62" fmla="*/ 141365 h 600393"/>
              <a:gd name="connsiteX63" fmla="*/ 327451 w 582139"/>
              <a:gd name="connsiteY63" fmla="*/ 181946 h 600393"/>
              <a:gd name="connsiteX64" fmla="*/ 257665 w 582139"/>
              <a:gd name="connsiteY64" fmla="*/ 166669 h 600393"/>
              <a:gd name="connsiteX65" fmla="*/ 251929 w 582139"/>
              <a:gd name="connsiteY65" fmla="*/ 166191 h 600393"/>
              <a:gd name="connsiteX66" fmla="*/ 199590 w 582139"/>
              <a:gd name="connsiteY66" fmla="*/ 133965 h 600393"/>
              <a:gd name="connsiteX67" fmla="*/ 196483 w 582139"/>
              <a:gd name="connsiteY67" fmla="*/ 130384 h 600393"/>
              <a:gd name="connsiteX68" fmla="*/ 191942 w 582139"/>
              <a:gd name="connsiteY68" fmla="*/ 127042 h 600393"/>
              <a:gd name="connsiteX69" fmla="*/ 189313 w 582139"/>
              <a:gd name="connsiteY69" fmla="*/ 126326 h 600393"/>
              <a:gd name="connsiteX70" fmla="*/ 179993 w 582139"/>
              <a:gd name="connsiteY70" fmla="*/ 120359 h 600393"/>
              <a:gd name="connsiteX71" fmla="*/ 283715 w 582139"/>
              <a:gd name="connsiteY71" fmla="*/ 525 h 600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82139" h="600393">
                <a:moveTo>
                  <a:pt x="548078" y="324908"/>
                </a:moveTo>
                <a:cubicBezTo>
                  <a:pt x="549990" y="325385"/>
                  <a:pt x="550945" y="326340"/>
                  <a:pt x="551423" y="327772"/>
                </a:cubicBezTo>
                <a:cubicBezTo>
                  <a:pt x="578423" y="333740"/>
                  <a:pt x="587502" y="369544"/>
                  <a:pt x="579139" y="394846"/>
                </a:cubicBezTo>
                <a:cubicBezTo>
                  <a:pt x="571971" y="417283"/>
                  <a:pt x="549273" y="454997"/>
                  <a:pt x="520362" y="451417"/>
                </a:cubicBezTo>
                <a:cubicBezTo>
                  <a:pt x="488345" y="447120"/>
                  <a:pt x="478549" y="406542"/>
                  <a:pt x="483089" y="379330"/>
                </a:cubicBezTo>
                <a:cubicBezTo>
                  <a:pt x="488584" y="346152"/>
                  <a:pt x="512238" y="317747"/>
                  <a:pt x="548078" y="324908"/>
                </a:cubicBezTo>
                <a:close/>
                <a:moveTo>
                  <a:pt x="63691" y="316240"/>
                </a:moveTo>
                <a:cubicBezTo>
                  <a:pt x="70981" y="315404"/>
                  <a:pt x="78749" y="317015"/>
                  <a:pt x="86755" y="321789"/>
                </a:cubicBezTo>
                <a:cubicBezTo>
                  <a:pt x="112329" y="336825"/>
                  <a:pt x="115914" y="381694"/>
                  <a:pt x="106354" y="406516"/>
                </a:cubicBezTo>
                <a:cubicBezTo>
                  <a:pt x="94881" y="436588"/>
                  <a:pt x="65244" y="457113"/>
                  <a:pt x="33217" y="444225"/>
                </a:cubicBezTo>
                <a:cubicBezTo>
                  <a:pt x="-5" y="431098"/>
                  <a:pt x="-5741" y="390764"/>
                  <a:pt x="4775" y="360453"/>
                </a:cubicBezTo>
                <a:cubicBezTo>
                  <a:pt x="11468" y="341121"/>
                  <a:pt x="26286" y="330142"/>
                  <a:pt x="43495" y="325369"/>
                </a:cubicBezTo>
                <a:cubicBezTo>
                  <a:pt x="49590" y="320357"/>
                  <a:pt x="56401" y="317075"/>
                  <a:pt x="63691" y="316240"/>
                </a:cubicBezTo>
                <a:close/>
                <a:moveTo>
                  <a:pt x="482581" y="142994"/>
                </a:moveTo>
                <a:cubicBezTo>
                  <a:pt x="507440" y="142039"/>
                  <a:pt x="543056" y="145619"/>
                  <a:pt x="547837" y="176170"/>
                </a:cubicBezTo>
                <a:cubicBezTo>
                  <a:pt x="550227" y="192161"/>
                  <a:pt x="548554" y="207198"/>
                  <a:pt x="547598" y="223189"/>
                </a:cubicBezTo>
                <a:cubicBezTo>
                  <a:pt x="545924" y="248250"/>
                  <a:pt x="548076" y="272833"/>
                  <a:pt x="554052" y="297178"/>
                </a:cubicBezTo>
                <a:cubicBezTo>
                  <a:pt x="557159" y="309351"/>
                  <a:pt x="538514" y="314363"/>
                  <a:pt x="535407" y="302429"/>
                </a:cubicBezTo>
                <a:cubicBezTo>
                  <a:pt x="527280" y="269015"/>
                  <a:pt x="528236" y="237271"/>
                  <a:pt x="529909" y="203140"/>
                </a:cubicBezTo>
                <a:cubicBezTo>
                  <a:pt x="530626" y="185955"/>
                  <a:pt x="530865" y="167339"/>
                  <a:pt x="508874" y="163759"/>
                </a:cubicBezTo>
                <a:cubicBezTo>
                  <a:pt x="494771" y="161372"/>
                  <a:pt x="479951" y="161849"/>
                  <a:pt x="465848" y="164475"/>
                </a:cubicBezTo>
                <a:cubicBezTo>
                  <a:pt x="409198" y="175454"/>
                  <a:pt x="353503" y="203617"/>
                  <a:pt x="315258" y="247534"/>
                </a:cubicBezTo>
                <a:cubicBezTo>
                  <a:pt x="317648" y="255887"/>
                  <a:pt x="317648" y="265434"/>
                  <a:pt x="317887" y="272117"/>
                </a:cubicBezTo>
                <a:cubicBezTo>
                  <a:pt x="318843" y="300997"/>
                  <a:pt x="316453" y="329638"/>
                  <a:pt x="314541" y="358279"/>
                </a:cubicBezTo>
                <a:cubicBezTo>
                  <a:pt x="309282" y="433224"/>
                  <a:pt x="319082" y="508406"/>
                  <a:pt x="315497" y="583589"/>
                </a:cubicBezTo>
                <a:cubicBezTo>
                  <a:pt x="327448" y="575713"/>
                  <a:pt x="342029" y="569746"/>
                  <a:pt x="354220" y="562347"/>
                </a:cubicBezTo>
                <a:cubicBezTo>
                  <a:pt x="371908" y="552084"/>
                  <a:pt x="389358" y="540628"/>
                  <a:pt x="408002" y="532751"/>
                </a:cubicBezTo>
                <a:cubicBezTo>
                  <a:pt x="443618" y="517715"/>
                  <a:pt x="488796" y="511271"/>
                  <a:pt x="526802" y="522250"/>
                </a:cubicBezTo>
                <a:cubicBezTo>
                  <a:pt x="525846" y="510793"/>
                  <a:pt x="525607" y="498143"/>
                  <a:pt x="532061" y="491460"/>
                </a:cubicBezTo>
                <a:cubicBezTo>
                  <a:pt x="534929" y="488596"/>
                  <a:pt x="539710" y="488596"/>
                  <a:pt x="542578" y="491460"/>
                </a:cubicBezTo>
                <a:cubicBezTo>
                  <a:pt x="552139" y="501246"/>
                  <a:pt x="546881" y="523443"/>
                  <a:pt x="546881" y="535854"/>
                </a:cubicBezTo>
                <a:cubicBezTo>
                  <a:pt x="546881" y="541582"/>
                  <a:pt x="540666" y="547788"/>
                  <a:pt x="534690" y="545162"/>
                </a:cubicBezTo>
                <a:cubicBezTo>
                  <a:pt x="488796" y="526307"/>
                  <a:pt x="434296" y="539196"/>
                  <a:pt x="391987" y="562108"/>
                </a:cubicBezTo>
                <a:cubicBezTo>
                  <a:pt x="375255" y="571178"/>
                  <a:pt x="358762" y="580725"/>
                  <a:pt x="341551" y="589079"/>
                </a:cubicBezTo>
                <a:cubicBezTo>
                  <a:pt x="333663" y="592898"/>
                  <a:pt x="323624" y="599342"/>
                  <a:pt x="314302" y="598149"/>
                </a:cubicBezTo>
                <a:cubicBezTo>
                  <a:pt x="313106" y="597910"/>
                  <a:pt x="312150" y="597671"/>
                  <a:pt x="311433" y="596955"/>
                </a:cubicBezTo>
                <a:cubicBezTo>
                  <a:pt x="310238" y="597671"/>
                  <a:pt x="308804" y="598387"/>
                  <a:pt x="307609" y="598387"/>
                </a:cubicBezTo>
                <a:cubicBezTo>
                  <a:pt x="304262" y="601013"/>
                  <a:pt x="299482" y="601490"/>
                  <a:pt x="295896" y="597194"/>
                </a:cubicBezTo>
                <a:cubicBezTo>
                  <a:pt x="243070" y="533945"/>
                  <a:pt x="137656" y="527739"/>
                  <a:pt x="63317" y="546833"/>
                </a:cubicBezTo>
                <a:cubicBezTo>
                  <a:pt x="57819" y="548265"/>
                  <a:pt x="50409" y="543969"/>
                  <a:pt x="51365" y="537764"/>
                </a:cubicBezTo>
                <a:cubicBezTo>
                  <a:pt x="53756" y="519147"/>
                  <a:pt x="54951" y="500291"/>
                  <a:pt x="56863" y="481675"/>
                </a:cubicBezTo>
                <a:cubicBezTo>
                  <a:pt x="57580" y="474037"/>
                  <a:pt x="67620" y="474037"/>
                  <a:pt x="68337" y="481675"/>
                </a:cubicBezTo>
                <a:cubicBezTo>
                  <a:pt x="69771" y="496234"/>
                  <a:pt x="70488" y="511032"/>
                  <a:pt x="70249" y="525830"/>
                </a:cubicBezTo>
                <a:cubicBezTo>
                  <a:pt x="143871" y="509122"/>
                  <a:pt x="240201" y="517237"/>
                  <a:pt x="297091" y="570223"/>
                </a:cubicBezTo>
                <a:cubicBezTo>
                  <a:pt x="295657" y="532513"/>
                  <a:pt x="296613" y="494563"/>
                  <a:pt x="295418" y="457091"/>
                </a:cubicBezTo>
                <a:cubicBezTo>
                  <a:pt x="294462" y="427973"/>
                  <a:pt x="292311" y="399332"/>
                  <a:pt x="294223" y="370213"/>
                </a:cubicBezTo>
                <a:cubicBezTo>
                  <a:pt x="296135" y="343243"/>
                  <a:pt x="298525" y="316034"/>
                  <a:pt x="298764" y="289063"/>
                </a:cubicBezTo>
                <a:cubicBezTo>
                  <a:pt x="298764" y="272356"/>
                  <a:pt x="294462" y="257081"/>
                  <a:pt x="293267" y="241089"/>
                </a:cubicBezTo>
                <a:cubicBezTo>
                  <a:pt x="264822" y="196934"/>
                  <a:pt x="200522" y="185239"/>
                  <a:pt x="151998" y="176886"/>
                </a:cubicBezTo>
                <a:cubicBezTo>
                  <a:pt x="132158" y="173306"/>
                  <a:pt x="111363" y="167577"/>
                  <a:pt x="91523" y="172351"/>
                </a:cubicBezTo>
                <a:cubicBezTo>
                  <a:pt x="75030" y="176408"/>
                  <a:pt x="74552" y="182137"/>
                  <a:pt x="71922" y="197412"/>
                </a:cubicBezTo>
                <a:cubicBezTo>
                  <a:pt x="66424" y="229872"/>
                  <a:pt x="62361" y="262332"/>
                  <a:pt x="62361" y="295030"/>
                </a:cubicBezTo>
                <a:cubicBezTo>
                  <a:pt x="62600" y="295746"/>
                  <a:pt x="62839" y="296462"/>
                  <a:pt x="63078" y="297178"/>
                </a:cubicBezTo>
                <a:cubicBezTo>
                  <a:pt x="65946" y="303384"/>
                  <a:pt x="62600" y="310544"/>
                  <a:pt x="54951" y="311022"/>
                </a:cubicBezTo>
                <a:cubicBezTo>
                  <a:pt x="54473" y="311022"/>
                  <a:pt x="53756" y="311022"/>
                  <a:pt x="53278" y="311022"/>
                </a:cubicBezTo>
                <a:cubicBezTo>
                  <a:pt x="48019" y="311260"/>
                  <a:pt x="44194" y="306487"/>
                  <a:pt x="43955" y="301713"/>
                </a:cubicBezTo>
                <a:cubicBezTo>
                  <a:pt x="41326" y="261138"/>
                  <a:pt x="44672" y="211255"/>
                  <a:pt x="57102" y="172351"/>
                </a:cubicBezTo>
                <a:cubicBezTo>
                  <a:pt x="66424" y="142516"/>
                  <a:pt x="120685" y="152063"/>
                  <a:pt x="142198" y="155644"/>
                </a:cubicBezTo>
                <a:cubicBezTo>
                  <a:pt x="192873" y="163759"/>
                  <a:pt x="284183" y="176647"/>
                  <a:pt x="309999" y="230588"/>
                </a:cubicBezTo>
                <a:cubicBezTo>
                  <a:pt x="341551" y="178318"/>
                  <a:pt x="426408" y="145380"/>
                  <a:pt x="482581" y="142994"/>
                </a:cubicBezTo>
                <a:close/>
                <a:moveTo>
                  <a:pt x="283715" y="525"/>
                </a:moveTo>
                <a:cubicBezTo>
                  <a:pt x="343463" y="-5443"/>
                  <a:pt x="395803" y="40390"/>
                  <a:pt x="414444" y="94816"/>
                </a:cubicBezTo>
                <a:cubicBezTo>
                  <a:pt x="420897" y="114391"/>
                  <a:pt x="416356" y="129907"/>
                  <a:pt x="398671" y="141365"/>
                </a:cubicBezTo>
                <a:cubicBezTo>
                  <a:pt x="376444" y="155688"/>
                  <a:pt x="352067" y="172637"/>
                  <a:pt x="327451" y="181946"/>
                </a:cubicBezTo>
                <a:cubicBezTo>
                  <a:pt x="299967" y="192211"/>
                  <a:pt x="278458" y="181469"/>
                  <a:pt x="257665" y="166669"/>
                </a:cubicBezTo>
                <a:cubicBezTo>
                  <a:pt x="255992" y="167146"/>
                  <a:pt x="253841" y="167146"/>
                  <a:pt x="251929" y="166191"/>
                </a:cubicBezTo>
                <a:cubicBezTo>
                  <a:pt x="232810" y="157836"/>
                  <a:pt x="216559" y="145423"/>
                  <a:pt x="199590" y="133965"/>
                </a:cubicBezTo>
                <a:cubicBezTo>
                  <a:pt x="198156" y="133010"/>
                  <a:pt x="197200" y="131817"/>
                  <a:pt x="196483" y="130384"/>
                </a:cubicBezTo>
                <a:cubicBezTo>
                  <a:pt x="195049" y="129191"/>
                  <a:pt x="193376" y="127997"/>
                  <a:pt x="191942" y="127042"/>
                </a:cubicBezTo>
                <a:cubicBezTo>
                  <a:pt x="191225" y="126804"/>
                  <a:pt x="190269" y="126565"/>
                  <a:pt x="189313" y="126326"/>
                </a:cubicBezTo>
                <a:cubicBezTo>
                  <a:pt x="185251" y="127042"/>
                  <a:pt x="180949" y="125371"/>
                  <a:pt x="179993" y="120359"/>
                </a:cubicBezTo>
                <a:cubicBezTo>
                  <a:pt x="170672" y="67603"/>
                  <a:pt x="233766" y="5776"/>
                  <a:pt x="283715" y="5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3" name="world-with-magnifying-glass_30946">
            <a:extLst>
              <a:ext uri="{FF2B5EF4-FFF2-40B4-BE49-F238E27FC236}">
                <a16:creationId xmlns:a16="http://schemas.microsoft.com/office/drawing/2014/main" id="{B8E7D66C-6551-4F70-86CD-0477EDB6383A}"/>
              </a:ext>
            </a:extLst>
          </p:cNvPr>
          <p:cNvSpPr>
            <a:spLocks noChangeAspect="1"/>
          </p:cNvSpPr>
          <p:nvPr/>
        </p:nvSpPr>
        <p:spPr bwMode="auto">
          <a:xfrm>
            <a:off x="5194133" y="820592"/>
            <a:ext cx="504198" cy="503383"/>
          </a:xfrm>
          <a:custGeom>
            <a:avLst/>
            <a:gdLst>
              <a:gd name="connsiteX0" fmla="*/ 526353 w 609316"/>
              <a:gd name="connsiteY0" fmla="*/ 439378 h 608332"/>
              <a:gd name="connsiteX1" fmla="*/ 440000 w 609316"/>
              <a:gd name="connsiteY1" fmla="*/ 525582 h 608332"/>
              <a:gd name="connsiteX2" fmla="*/ 519574 w 609316"/>
              <a:gd name="connsiteY2" fmla="*/ 518815 h 608332"/>
              <a:gd name="connsiteX3" fmla="*/ 526353 w 609316"/>
              <a:gd name="connsiteY3" fmla="*/ 439378 h 608332"/>
              <a:gd name="connsiteX4" fmla="*/ 137051 w 609316"/>
              <a:gd name="connsiteY4" fmla="*/ 325730 h 608332"/>
              <a:gd name="connsiteX5" fmla="*/ 283108 w 609316"/>
              <a:gd name="connsiteY5" fmla="*/ 471539 h 608332"/>
              <a:gd name="connsiteX6" fmla="*/ 153114 w 609316"/>
              <a:gd name="connsiteY6" fmla="*/ 601311 h 608332"/>
              <a:gd name="connsiteX7" fmla="*/ 119130 w 609316"/>
              <a:gd name="connsiteY7" fmla="*/ 601311 h 608332"/>
              <a:gd name="connsiteX8" fmla="*/ 7057 w 609316"/>
              <a:gd name="connsiteY8" fmla="*/ 489521 h 608332"/>
              <a:gd name="connsiteX9" fmla="*/ 0 w 609316"/>
              <a:gd name="connsiteY9" fmla="*/ 472466 h 608332"/>
              <a:gd name="connsiteX10" fmla="*/ 7057 w 609316"/>
              <a:gd name="connsiteY10" fmla="*/ 455503 h 608332"/>
              <a:gd name="connsiteX11" fmla="*/ 8264 w 609316"/>
              <a:gd name="connsiteY11" fmla="*/ 454298 h 608332"/>
              <a:gd name="connsiteX12" fmla="*/ 40298 w 609316"/>
              <a:gd name="connsiteY12" fmla="*/ 486370 h 608332"/>
              <a:gd name="connsiteX13" fmla="*/ 47541 w 609316"/>
              <a:gd name="connsiteY13" fmla="*/ 489336 h 608332"/>
              <a:gd name="connsiteX14" fmla="*/ 54783 w 609316"/>
              <a:gd name="connsiteY14" fmla="*/ 486370 h 608332"/>
              <a:gd name="connsiteX15" fmla="*/ 54783 w 609316"/>
              <a:gd name="connsiteY15" fmla="*/ 471910 h 608332"/>
              <a:gd name="connsiteX16" fmla="*/ 22749 w 609316"/>
              <a:gd name="connsiteY16" fmla="*/ 439837 h 608332"/>
              <a:gd name="connsiteX17" fmla="*/ 55897 w 609316"/>
              <a:gd name="connsiteY17" fmla="*/ 406745 h 608332"/>
              <a:gd name="connsiteX18" fmla="*/ 87932 w 609316"/>
              <a:gd name="connsiteY18" fmla="*/ 438725 h 608332"/>
              <a:gd name="connsiteX19" fmla="*/ 95174 w 609316"/>
              <a:gd name="connsiteY19" fmla="*/ 441784 h 608332"/>
              <a:gd name="connsiteX20" fmla="*/ 102417 w 609316"/>
              <a:gd name="connsiteY20" fmla="*/ 438725 h 608332"/>
              <a:gd name="connsiteX21" fmla="*/ 102417 w 609316"/>
              <a:gd name="connsiteY21" fmla="*/ 424357 h 608332"/>
              <a:gd name="connsiteX22" fmla="*/ 70382 w 609316"/>
              <a:gd name="connsiteY22" fmla="*/ 392285 h 608332"/>
              <a:gd name="connsiteX23" fmla="*/ 98610 w 609316"/>
              <a:gd name="connsiteY23" fmla="*/ 364106 h 608332"/>
              <a:gd name="connsiteX24" fmla="*/ 159243 w 609316"/>
              <a:gd name="connsiteY24" fmla="*/ 424543 h 608332"/>
              <a:gd name="connsiteX25" fmla="*/ 166485 w 609316"/>
              <a:gd name="connsiteY25" fmla="*/ 427509 h 608332"/>
              <a:gd name="connsiteX26" fmla="*/ 173635 w 609316"/>
              <a:gd name="connsiteY26" fmla="*/ 424543 h 608332"/>
              <a:gd name="connsiteX27" fmla="*/ 173635 w 609316"/>
              <a:gd name="connsiteY27" fmla="*/ 410082 h 608332"/>
              <a:gd name="connsiteX28" fmla="*/ 113095 w 609316"/>
              <a:gd name="connsiteY28" fmla="*/ 349645 h 608332"/>
              <a:gd name="connsiteX29" fmla="*/ 186794 w 609316"/>
              <a:gd name="connsiteY29" fmla="*/ 231191 h 608332"/>
              <a:gd name="connsiteX30" fmla="*/ 165159 w 609316"/>
              <a:gd name="connsiteY30" fmla="*/ 252881 h 608332"/>
              <a:gd name="connsiteX31" fmla="*/ 410288 w 609316"/>
              <a:gd name="connsiteY31" fmla="*/ 497589 h 608332"/>
              <a:gd name="connsiteX32" fmla="*/ 431922 w 609316"/>
              <a:gd name="connsiteY32" fmla="*/ 475899 h 608332"/>
              <a:gd name="connsiteX33" fmla="*/ 253090 w 609316"/>
              <a:gd name="connsiteY33" fmla="*/ 165102 h 608332"/>
              <a:gd name="connsiteX34" fmla="*/ 231363 w 609316"/>
              <a:gd name="connsiteY34" fmla="*/ 186699 h 608332"/>
              <a:gd name="connsiteX35" fmla="*/ 476584 w 609316"/>
              <a:gd name="connsiteY35" fmla="*/ 431407 h 608332"/>
              <a:gd name="connsiteX36" fmla="*/ 498218 w 609316"/>
              <a:gd name="connsiteY36" fmla="*/ 409809 h 608332"/>
              <a:gd name="connsiteX37" fmla="*/ 139625 w 609316"/>
              <a:gd name="connsiteY37" fmla="*/ 116346 h 608332"/>
              <a:gd name="connsiteX38" fmla="*/ 116319 w 609316"/>
              <a:gd name="connsiteY38" fmla="*/ 139611 h 608332"/>
              <a:gd name="connsiteX39" fmla="*/ 142968 w 609316"/>
              <a:gd name="connsiteY39" fmla="*/ 217195 h 608332"/>
              <a:gd name="connsiteX40" fmla="*/ 217435 w 609316"/>
              <a:gd name="connsiteY40" fmla="*/ 142948 h 608332"/>
              <a:gd name="connsiteX41" fmla="*/ 77972 w 609316"/>
              <a:gd name="connsiteY41" fmla="*/ 52110 h 608332"/>
              <a:gd name="connsiteX42" fmla="*/ 255690 w 609316"/>
              <a:gd name="connsiteY42" fmla="*/ 112823 h 608332"/>
              <a:gd name="connsiteX43" fmla="*/ 263489 w 609316"/>
              <a:gd name="connsiteY43" fmla="*/ 117736 h 608332"/>
              <a:gd name="connsiteX44" fmla="*/ 548451 w 609316"/>
              <a:gd name="connsiteY44" fmla="*/ 402208 h 608332"/>
              <a:gd name="connsiteX45" fmla="*/ 548451 w 609316"/>
              <a:gd name="connsiteY45" fmla="*/ 547735 h 608332"/>
              <a:gd name="connsiteX46" fmla="*/ 475563 w 609316"/>
              <a:gd name="connsiteY46" fmla="*/ 577860 h 608332"/>
              <a:gd name="connsiteX47" fmla="*/ 402674 w 609316"/>
              <a:gd name="connsiteY47" fmla="*/ 547735 h 608332"/>
              <a:gd name="connsiteX48" fmla="*/ 117712 w 609316"/>
              <a:gd name="connsiteY48" fmla="*/ 263263 h 608332"/>
              <a:gd name="connsiteX49" fmla="*/ 112884 w 609316"/>
              <a:gd name="connsiteY49" fmla="*/ 255384 h 608332"/>
              <a:gd name="connsiteX50" fmla="*/ 51973 w 609316"/>
              <a:gd name="connsiteY50" fmla="*/ 78064 h 608332"/>
              <a:gd name="connsiteX51" fmla="*/ 56894 w 609316"/>
              <a:gd name="connsiteY51" fmla="*/ 57023 h 608332"/>
              <a:gd name="connsiteX52" fmla="*/ 77972 w 609316"/>
              <a:gd name="connsiteY52" fmla="*/ 52110 h 608332"/>
              <a:gd name="connsiteX53" fmla="*/ 473310 w 609316"/>
              <a:gd name="connsiteY53" fmla="*/ 0 h 608332"/>
              <a:gd name="connsiteX54" fmla="*/ 490302 w 609316"/>
              <a:gd name="connsiteY54" fmla="*/ 7045 h 608332"/>
              <a:gd name="connsiteX55" fmla="*/ 602283 w 609316"/>
              <a:gd name="connsiteY55" fmla="*/ 118943 h 608332"/>
              <a:gd name="connsiteX56" fmla="*/ 602283 w 609316"/>
              <a:gd name="connsiteY56" fmla="*/ 152874 h 608332"/>
              <a:gd name="connsiteX57" fmla="*/ 472196 w 609316"/>
              <a:gd name="connsiteY57" fmla="*/ 282756 h 608332"/>
              <a:gd name="connsiteX58" fmla="*/ 326788 w 609316"/>
              <a:gd name="connsiteY58" fmla="*/ 136279 h 608332"/>
              <a:gd name="connsiteX59" fmla="*/ 355108 w 609316"/>
              <a:gd name="connsiteY59" fmla="*/ 108096 h 608332"/>
              <a:gd name="connsiteX60" fmla="*/ 415648 w 609316"/>
              <a:gd name="connsiteY60" fmla="*/ 168541 h 608332"/>
              <a:gd name="connsiteX61" fmla="*/ 422891 w 609316"/>
              <a:gd name="connsiteY61" fmla="*/ 171508 h 608332"/>
              <a:gd name="connsiteX62" fmla="*/ 430041 w 609316"/>
              <a:gd name="connsiteY62" fmla="*/ 168541 h 608332"/>
              <a:gd name="connsiteX63" fmla="*/ 430041 w 609316"/>
              <a:gd name="connsiteY63" fmla="*/ 154079 h 608332"/>
              <a:gd name="connsiteX64" fmla="*/ 369500 w 609316"/>
              <a:gd name="connsiteY64" fmla="*/ 93634 h 608332"/>
              <a:gd name="connsiteX65" fmla="*/ 397821 w 609316"/>
              <a:gd name="connsiteY65" fmla="*/ 65359 h 608332"/>
              <a:gd name="connsiteX66" fmla="*/ 429855 w 609316"/>
              <a:gd name="connsiteY66" fmla="*/ 97342 h 608332"/>
              <a:gd name="connsiteX67" fmla="*/ 437097 w 609316"/>
              <a:gd name="connsiteY67" fmla="*/ 100402 h 608332"/>
              <a:gd name="connsiteX68" fmla="*/ 444340 w 609316"/>
              <a:gd name="connsiteY68" fmla="*/ 97342 h 608332"/>
              <a:gd name="connsiteX69" fmla="*/ 444340 w 609316"/>
              <a:gd name="connsiteY69" fmla="*/ 82973 h 608332"/>
              <a:gd name="connsiteX70" fmla="*/ 412306 w 609316"/>
              <a:gd name="connsiteY70" fmla="*/ 50989 h 608332"/>
              <a:gd name="connsiteX71" fmla="*/ 440626 w 609316"/>
              <a:gd name="connsiteY71" fmla="*/ 22713 h 608332"/>
              <a:gd name="connsiteX72" fmla="*/ 472660 w 609316"/>
              <a:gd name="connsiteY72" fmla="*/ 54697 h 608332"/>
              <a:gd name="connsiteX73" fmla="*/ 479903 w 609316"/>
              <a:gd name="connsiteY73" fmla="*/ 57664 h 608332"/>
              <a:gd name="connsiteX74" fmla="*/ 487052 w 609316"/>
              <a:gd name="connsiteY74" fmla="*/ 54697 h 608332"/>
              <a:gd name="connsiteX75" fmla="*/ 487052 w 609316"/>
              <a:gd name="connsiteY75" fmla="*/ 40235 h 608332"/>
              <a:gd name="connsiteX76" fmla="*/ 455018 w 609316"/>
              <a:gd name="connsiteY76" fmla="*/ 8251 h 608332"/>
              <a:gd name="connsiteX77" fmla="*/ 456225 w 609316"/>
              <a:gd name="connsiteY77" fmla="*/ 7045 h 608332"/>
              <a:gd name="connsiteX78" fmla="*/ 473310 w 609316"/>
              <a:gd name="connsiteY78" fmla="*/ 0 h 608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316" h="608332">
                <a:moveTo>
                  <a:pt x="526353" y="439378"/>
                </a:moveTo>
                <a:lnTo>
                  <a:pt x="440000" y="525582"/>
                </a:lnTo>
                <a:cubicBezTo>
                  <a:pt x="463863" y="541710"/>
                  <a:pt x="498776" y="539578"/>
                  <a:pt x="519574" y="518815"/>
                </a:cubicBezTo>
                <a:cubicBezTo>
                  <a:pt x="541116" y="497218"/>
                  <a:pt x="543344" y="463571"/>
                  <a:pt x="526353" y="439378"/>
                </a:cubicBezTo>
                <a:close/>
                <a:moveTo>
                  <a:pt x="137051" y="325730"/>
                </a:moveTo>
                <a:lnTo>
                  <a:pt x="283108" y="471539"/>
                </a:lnTo>
                <a:lnTo>
                  <a:pt x="153114" y="601311"/>
                </a:lnTo>
                <a:cubicBezTo>
                  <a:pt x="143736" y="610673"/>
                  <a:pt x="128508" y="610673"/>
                  <a:pt x="119130" y="601311"/>
                </a:cubicBezTo>
                <a:lnTo>
                  <a:pt x="7057" y="489521"/>
                </a:lnTo>
                <a:cubicBezTo>
                  <a:pt x="2507" y="484979"/>
                  <a:pt x="0" y="478862"/>
                  <a:pt x="0" y="472466"/>
                </a:cubicBezTo>
                <a:cubicBezTo>
                  <a:pt x="0" y="466162"/>
                  <a:pt x="2507" y="460045"/>
                  <a:pt x="7057" y="455503"/>
                </a:cubicBezTo>
                <a:lnTo>
                  <a:pt x="8264" y="454298"/>
                </a:lnTo>
                <a:lnTo>
                  <a:pt x="40298" y="486370"/>
                </a:lnTo>
                <a:cubicBezTo>
                  <a:pt x="42341" y="488316"/>
                  <a:pt x="44941" y="489336"/>
                  <a:pt x="47541" y="489336"/>
                </a:cubicBezTo>
                <a:cubicBezTo>
                  <a:pt x="50141" y="489336"/>
                  <a:pt x="52833" y="488316"/>
                  <a:pt x="54783" y="486370"/>
                </a:cubicBezTo>
                <a:cubicBezTo>
                  <a:pt x="58776" y="482291"/>
                  <a:pt x="58776" y="475895"/>
                  <a:pt x="54783" y="471910"/>
                </a:cubicBezTo>
                <a:lnTo>
                  <a:pt x="22749" y="439837"/>
                </a:lnTo>
                <a:lnTo>
                  <a:pt x="55897" y="406745"/>
                </a:lnTo>
                <a:lnTo>
                  <a:pt x="87932" y="438725"/>
                </a:lnTo>
                <a:cubicBezTo>
                  <a:pt x="89974" y="440764"/>
                  <a:pt x="92574" y="441784"/>
                  <a:pt x="95174" y="441784"/>
                </a:cubicBezTo>
                <a:cubicBezTo>
                  <a:pt x="97774" y="441784"/>
                  <a:pt x="100467" y="440764"/>
                  <a:pt x="102417" y="438725"/>
                </a:cubicBezTo>
                <a:cubicBezTo>
                  <a:pt x="106409" y="434739"/>
                  <a:pt x="106409" y="428343"/>
                  <a:pt x="102417" y="424357"/>
                </a:cubicBezTo>
                <a:lnTo>
                  <a:pt x="70382" y="392285"/>
                </a:lnTo>
                <a:lnTo>
                  <a:pt x="98610" y="364106"/>
                </a:lnTo>
                <a:lnTo>
                  <a:pt x="159243" y="424543"/>
                </a:lnTo>
                <a:cubicBezTo>
                  <a:pt x="161192" y="426489"/>
                  <a:pt x="163792" y="427509"/>
                  <a:pt x="166485" y="427509"/>
                </a:cubicBezTo>
                <a:cubicBezTo>
                  <a:pt x="169085" y="427509"/>
                  <a:pt x="171685" y="426489"/>
                  <a:pt x="173635" y="424543"/>
                </a:cubicBezTo>
                <a:cubicBezTo>
                  <a:pt x="177627" y="420557"/>
                  <a:pt x="177627" y="414068"/>
                  <a:pt x="173635" y="410082"/>
                </a:cubicBezTo>
                <a:lnTo>
                  <a:pt x="113095" y="349645"/>
                </a:lnTo>
                <a:close/>
                <a:moveTo>
                  <a:pt x="186794" y="231191"/>
                </a:moveTo>
                <a:lnTo>
                  <a:pt x="165159" y="252881"/>
                </a:lnTo>
                <a:lnTo>
                  <a:pt x="410288" y="497589"/>
                </a:lnTo>
                <a:lnTo>
                  <a:pt x="431922" y="475899"/>
                </a:lnTo>
                <a:close/>
                <a:moveTo>
                  <a:pt x="253090" y="165102"/>
                </a:moveTo>
                <a:lnTo>
                  <a:pt x="231363" y="186699"/>
                </a:lnTo>
                <a:lnTo>
                  <a:pt x="476584" y="431407"/>
                </a:lnTo>
                <a:lnTo>
                  <a:pt x="498218" y="409809"/>
                </a:lnTo>
                <a:close/>
                <a:moveTo>
                  <a:pt x="139625" y="116346"/>
                </a:moveTo>
                <a:lnTo>
                  <a:pt x="116319" y="139611"/>
                </a:lnTo>
                <a:lnTo>
                  <a:pt x="142968" y="217195"/>
                </a:lnTo>
                <a:lnTo>
                  <a:pt x="217435" y="142948"/>
                </a:lnTo>
                <a:close/>
                <a:moveTo>
                  <a:pt x="77972" y="52110"/>
                </a:moveTo>
                <a:lnTo>
                  <a:pt x="255690" y="112823"/>
                </a:lnTo>
                <a:cubicBezTo>
                  <a:pt x="258661" y="113843"/>
                  <a:pt x="261261" y="115511"/>
                  <a:pt x="263489" y="117736"/>
                </a:cubicBezTo>
                <a:lnTo>
                  <a:pt x="548451" y="402208"/>
                </a:lnTo>
                <a:cubicBezTo>
                  <a:pt x="588656" y="442252"/>
                  <a:pt x="588656" y="507600"/>
                  <a:pt x="548451" y="547735"/>
                </a:cubicBezTo>
                <a:cubicBezTo>
                  <a:pt x="528952" y="567201"/>
                  <a:pt x="503047" y="577860"/>
                  <a:pt x="475563" y="577860"/>
                </a:cubicBezTo>
                <a:cubicBezTo>
                  <a:pt x="448079" y="577860"/>
                  <a:pt x="422173" y="567201"/>
                  <a:pt x="402674" y="547735"/>
                </a:cubicBezTo>
                <a:lnTo>
                  <a:pt x="117712" y="263263"/>
                </a:lnTo>
                <a:cubicBezTo>
                  <a:pt x="115576" y="261038"/>
                  <a:pt x="113905" y="258350"/>
                  <a:pt x="112884" y="255384"/>
                </a:cubicBezTo>
                <a:lnTo>
                  <a:pt x="51973" y="78064"/>
                </a:lnTo>
                <a:cubicBezTo>
                  <a:pt x="49466" y="70648"/>
                  <a:pt x="51416" y="62491"/>
                  <a:pt x="56894" y="57023"/>
                </a:cubicBezTo>
                <a:cubicBezTo>
                  <a:pt x="62372" y="51461"/>
                  <a:pt x="70543" y="49607"/>
                  <a:pt x="77972" y="52110"/>
                </a:cubicBezTo>
                <a:close/>
                <a:moveTo>
                  <a:pt x="473310" y="0"/>
                </a:moveTo>
                <a:cubicBezTo>
                  <a:pt x="479624" y="0"/>
                  <a:pt x="485752" y="2503"/>
                  <a:pt x="490302" y="7045"/>
                </a:cubicBezTo>
                <a:lnTo>
                  <a:pt x="602283" y="118943"/>
                </a:lnTo>
                <a:cubicBezTo>
                  <a:pt x="611661" y="128307"/>
                  <a:pt x="611661" y="143511"/>
                  <a:pt x="602283" y="152874"/>
                </a:cubicBezTo>
                <a:lnTo>
                  <a:pt x="472196" y="282756"/>
                </a:lnTo>
                <a:lnTo>
                  <a:pt x="326788" y="136279"/>
                </a:lnTo>
                <a:lnTo>
                  <a:pt x="355108" y="108096"/>
                </a:lnTo>
                <a:lnTo>
                  <a:pt x="415648" y="168541"/>
                </a:lnTo>
                <a:cubicBezTo>
                  <a:pt x="417598" y="170488"/>
                  <a:pt x="420291" y="171508"/>
                  <a:pt x="422891" y="171508"/>
                </a:cubicBezTo>
                <a:cubicBezTo>
                  <a:pt x="425491" y="171508"/>
                  <a:pt x="428091" y="170488"/>
                  <a:pt x="430041" y="168541"/>
                </a:cubicBezTo>
                <a:cubicBezTo>
                  <a:pt x="434033" y="164555"/>
                  <a:pt x="434033" y="158065"/>
                  <a:pt x="430041" y="154079"/>
                </a:cubicBezTo>
                <a:lnTo>
                  <a:pt x="369500" y="93634"/>
                </a:lnTo>
                <a:lnTo>
                  <a:pt x="397821" y="65359"/>
                </a:lnTo>
                <a:lnTo>
                  <a:pt x="429855" y="97342"/>
                </a:lnTo>
                <a:cubicBezTo>
                  <a:pt x="431898" y="99382"/>
                  <a:pt x="434498" y="100402"/>
                  <a:pt x="437097" y="100402"/>
                </a:cubicBezTo>
                <a:cubicBezTo>
                  <a:pt x="439697" y="100402"/>
                  <a:pt x="442297" y="99382"/>
                  <a:pt x="444340" y="97342"/>
                </a:cubicBezTo>
                <a:cubicBezTo>
                  <a:pt x="448333" y="93356"/>
                  <a:pt x="448333" y="86959"/>
                  <a:pt x="444340" y="82973"/>
                </a:cubicBezTo>
                <a:lnTo>
                  <a:pt x="412306" y="50989"/>
                </a:lnTo>
                <a:lnTo>
                  <a:pt x="440626" y="22713"/>
                </a:lnTo>
                <a:lnTo>
                  <a:pt x="472660" y="54697"/>
                </a:lnTo>
                <a:cubicBezTo>
                  <a:pt x="474610" y="56737"/>
                  <a:pt x="477210" y="57664"/>
                  <a:pt x="479903" y="57664"/>
                </a:cubicBezTo>
                <a:cubicBezTo>
                  <a:pt x="482503" y="57664"/>
                  <a:pt x="485102" y="56737"/>
                  <a:pt x="487052" y="54697"/>
                </a:cubicBezTo>
                <a:cubicBezTo>
                  <a:pt x="491045" y="50711"/>
                  <a:pt x="491045" y="44221"/>
                  <a:pt x="487052" y="40235"/>
                </a:cubicBezTo>
                <a:lnTo>
                  <a:pt x="455018" y="8251"/>
                </a:lnTo>
                <a:lnTo>
                  <a:pt x="456225" y="7045"/>
                </a:lnTo>
                <a:cubicBezTo>
                  <a:pt x="460775" y="2503"/>
                  <a:pt x="466903" y="0"/>
                  <a:pt x="47331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4" name="world-with-magnifying-glass_30946">
            <a:extLst>
              <a:ext uri="{FF2B5EF4-FFF2-40B4-BE49-F238E27FC236}">
                <a16:creationId xmlns:a16="http://schemas.microsoft.com/office/drawing/2014/main" id="{FC3A98CD-9900-430B-A5CE-F56131CE201A}"/>
              </a:ext>
            </a:extLst>
          </p:cNvPr>
          <p:cNvSpPr>
            <a:spLocks noChangeAspect="1"/>
          </p:cNvSpPr>
          <p:nvPr/>
        </p:nvSpPr>
        <p:spPr bwMode="auto">
          <a:xfrm>
            <a:off x="8522132" y="2754940"/>
            <a:ext cx="402000" cy="504198"/>
          </a:xfrm>
          <a:custGeom>
            <a:avLst/>
            <a:gdLst>
              <a:gd name="connsiteX0" fmla="*/ 211944 w 484081"/>
              <a:gd name="connsiteY0" fmla="*/ 577014 h 607145"/>
              <a:gd name="connsiteX1" fmla="*/ 272136 w 484081"/>
              <a:gd name="connsiteY1" fmla="*/ 577014 h 607145"/>
              <a:gd name="connsiteX2" fmla="*/ 241987 w 484081"/>
              <a:gd name="connsiteY2" fmla="*/ 607145 h 607145"/>
              <a:gd name="connsiteX3" fmla="*/ 211944 w 484081"/>
              <a:gd name="connsiteY3" fmla="*/ 577014 h 607145"/>
              <a:gd name="connsiteX4" fmla="*/ 386197 w 484081"/>
              <a:gd name="connsiteY4" fmla="*/ 376834 h 607145"/>
              <a:gd name="connsiteX5" fmla="*/ 432783 w 484081"/>
              <a:gd name="connsiteY5" fmla="*/ 409197 h 607145"/>
              <a:gd name="connsiteX6" fmla="*/ 434808 w 484081"/>
              <a:gd name="connsiteY6" fmla="*/ 420269 h 607145"/>
              <a:gd name="connsiteX7" fmla="*/ 428199 w 484081"/>
              <a:gd name="connsiteY7" fmla="*/ 423675 h 607145"/>
              <a:gd name="connsiteX8" fmla="*/ 423721 w 484081"/>
              <a:gd name="connsiteY8" fmla="*/ 422291 h 607145"/>
              <a:gd name="connsiteX9" fmla="*/ 377029 w 484081"/>
              <a:gd name="connsiteY9" fmla="*/ 389822 h 607145"/>
              <a:gd name="connsiteX10" fmla="*/ 375110 w 484081"/>
              <a:gd name="connsiteY10" fmla="*/ 378750 h 607145"/>
              <a:gd name="connsiteX11" fmla="*/ 386197 w 484081"/>
              <a:gd name="connsiteY11" fmla="*/ 376834 h 607145"/>
              <a:gd name="connsiteX12" fmla="*/ 97877 w 484081"/>
              <a:gd name="connsiteY12" fmla="*/ 376834 h 607145"/>
              <a:gd name="connsiteX13" fmla="*/ 108970 w 484081"/>
              <a:gd name="connsiteY13" fmla="*/ 378750 h 607145"/>
              <a:gd name="connsiteX14" fmla="*/ 106944 w 484081"/>
              <a:gd name="connsiteY14" fmla="*/ 389822 h 607145"/>
              <a:gd name="connsiteX15" fmla="*/ 60333 w 484081"/>
              <a:gd name="connsiteY15" fmla="*/ 422185 h 607145"/>
              <a:gd name="connsiteX16" fmla="*/ 55746 w 484081"/>
              <a:gd name="connsiteY16" fmla="*/ 423675 h 607145"/>
              <a:gd name="connsiteX17" fmla="*/ 49240 w 484081"/>
              <a:gd name="connsiteY17" fmla="*/ 420269 h 607145"/>
              <a:gd name="connsiteX18" fmla="*/ 51267 w 484081"/>
              <a:gd name="connsiteY18" fmla="*/ 409197 h 607145"/>
              <a:gd name="connsiteX19" fmla="*/ 420647 w 484081"/>
              <a:gd name="connsiteY19" fmla="*/ 299378 h 607145"/>
              <a:gd name="connsiteX20" fmla="*/ 476650 w 484081"/>
              <a:gd name="connsiteY20" fmla="*/ 309063 h 607145"/>
              <a:gd name="connsiteX21" fmla="*/ 483156 w 484081"/>
              <a:gd name="connsiteY21" fmla="*/ 318215 h 607145"/>
              <a:gd name="connsiteX22" fmla="*/ 475369 w 484081"/>
              <a:gd name="connsiteY22" fmla="*/ 324813 h 607145"/>
              <a:gd name="connsiteX23" fmla="*/ 473983 w 484081"/>
              <a:gd name="connsiteY23" fmla="*/ 324707 h 607145"/>
              <a:gd name="connsiteX24" fmla="*/ 417981 w 484081"/>
              <a:gd name="connsiteY24" fmla="*/ 315022 h 607145"/>
              <a:gd name="connsiteX25" fmla="*/ 411474 w 484081"/>
              <a:gd name="connsiteY25" fmla="*/ 305870 h 607145"/>
              <a:gd name="connsiteX26" fmla="*/ 420647 w 484081"/>
              <a:gd name="connsiteY26" fmla="*/ 299378 h 607145"/>
              <a:gd name="connsiteX27" fmla="*/ 63326 w 484081"/>
              <a:gd name="connsiteY27" fmla="*/ 299378 h 607145"/>
              <a:gd name="connsiteX28" fmla="*/ 72606 w 484081"/>
              <a:gd name="connsiteY28" fmla="*/ 305870 h 607145"/>
              <a:gd name="connsiteX29" fmla="*/ 66100 w 484081"/>
              <a:gd name="connsiteY29" fmla="*/ 315022 h 607145"/>
              <a:gd name="connsiteX30" fmla="*/ 10097 w 484081"/>
              <a:gd name="connsiteY30" fmla="*/ 324707 h 607145"/>
              <a:gd name="connsiteX31" fmla="*/ 8711 w 484081"/>
              <a:gd name="connsiteY31" fmla="*/ 324813 h 607145"/>
              <a:gd name="connsiteX32" fmla="*/ 924 w 484081"/>
              <a:gd name="connsiteY32" fmla="*/ 318215 h 607145"/>
              <a:gd name="connsiteX33" fmla="*/ 7324 w 484081"/>
              <a:gd name="connsiteY33" fmla="*/ 309063 h 607145"/>
              <a:gd name="connsiteX34" fmla="*/ 241988 w 484081"/>
              <a:gd name="connsiteY34" fmla="*/ 267347 h 607145"/>
              <a:gd name="connsiteX35" fmla="*/ 216182 w 484081"/>
              <a:gd name="connsiteY35" fmla="*/ 274270 h 607145"/>
              <a:gd name="connsiteX36" fmla="*/ 220021 w 484081"/>
              <a:gd name="connsiteY36" fmla="*/ 306115 h 607145"/>
              <a:gd name="connsiteX37" fmla="*/ 227059 w 484081"/>
              <a:gd name="connsiteY37" fmla="*/ 338173 h 607145"/>
              <a:gd name="connsiteX38" fmla="*/ 227059 w 484081"/>
              <a:gd name="connsiteY38" fmla="*/ 399520 h 607145"/>
              <a:gd name="connsiteX39" fmla="*/ 256810 w 484081"/>
              <a:gd name="connsiteY39" fmla="*/ 399520 h 607145"/>
              <a:gd name="connsiteX40" fmla="*/ 256703 w 484081"/>
              <a:gd name="connsiteY40" fmla="*/ 338173 h 607145"/>
              <a:gd name="connsiteX41" fmla="*/ 263955 w 484081"/>
              <a:gd name="connsiteY41" fmla="*/ 305476 h 607145"/>
              <a:gd name="connsiteX42" fmla="*/ 267900 w 484081"/>
              <a:gd name="connsiteY42" fmla="*/ 274163 h 607145"/>
              <a:gd name="connsiteX43" fmla="*/ 241988 w 484081"/>
              <a:gd name="connsiteY43" fmla="*/ 267347 h 607145"/>
              <a:gd name="connsiteX44" fmla="*/ 474081 w 484081"/>
              <a:gd name="connsiteY44" fmla="*/ 199813 h 607145"/>
              <a:gd name="connsiteX45" fmla="*/ 483789 w 484081"/>
              <a:gd name="connsiteY45" fmla="*/ 205348 h 607145"/>
              <a:gd name="connsiteX46" fmla="*/ 478241 w 484081"/>
              <a:gd name="connsiteY46" fmla="*/ 215140 h 607145"/>
              <a:gd name="connsiteX47" fmla="*/ 423409 w 484081"/>
              <a:gd name="connsiteY47" fmla="*/ 229935 h 607145"/>
              <a:gd name="connsiteX48" fmla="*/ 421275 w 484081"/>
              <a:gd name="connsiteY48" fmla="*/ 230255 h 607145"/>
              <a:gd name="connsiteX49" fmla="*/ 413595 w 484081"/>
              <a:gd name="connsiteY49" fmla="*/ 224400 h 607145"/>
              <a:gd name="connsiteX50" fmla="*/ 419142 w 484081"/>
              <a:gd name="connsiteY50" fmla="*/ 214608 h 607145"/>
              <a:gd name="connsiteX51" fmla="*/ 10000 w 484081"/>
              <a:gd name="connsiteY51" fmla="*/ 199813 h 607145"/>
              <a:gd name="connsiteX52" fmla="*/ 64833 w 484081"/>
              <a:gd name="connsiteY52" fmla="*/ 214608 h 607145"/>
              <a:gd name="connsiteX53" fmla="*/ 70487 w 484081"/>
              <a:gd name="connsiteY53" fmla="*/ 224400 h 607145"/>
              <a:gd name="connsiteX54" fmla="*/ 62806 w 484081"/>
              <a:gd name="connsiteY54" fmla="*/ 230255 h 607145"/>
              <a:gd name="connsiteX55" fmla="*/ 60672 w 484081"/>
              <a:gd name="connsiteY55" fmla="*/ 229935 h 607145"/>
              <a:gd name="connsiteX56" fmla="*/ 5840 w 484081"/>
              <a:gd name="connsiteY56" fmla="*/ 215140 h 607145"/>
              <a:gd name="connsiteX57" fmla="*/ 293 w 484081"/>
              <a:gd name="connsiteY57" fmla="*/ 205348 h 607145"/>
              <a:gd name="connsiteX58" fmla="*/ 10000 w 484081"/>
              <a:gd name="connsiteY58" fmla="*/ 199813 h 607145"/>
              <a:gd name="connsiteX59" fmla="*/ 241988 w 484081"/>
              <a:gd name="connsiteY59" fmla="*/ 117707 h 607145"/>
              <a:gd name="connsiteX60" fmla="*/ 109227 w 484081"/>
              <a:gd name="connsiteY60" fmla="*/ 250306 h 607145"/>
              <a:gd name="connsiteX61" fmla="*/ 154121 w 484081"/>
              <a:gd name="connsiteY61" fmla="*/ 368527 h 607145"/>
              <a:gd name="connsiteX62" fmla="*/ 172888 w 484081"/>
              <a:gd name="connsiteY62" fmla="*/ 393237 h 607145"/>
              <a:gd name="connsiteX63" fmla="*/ 196455 w 484081"/>
              <a:gd name="connsiteY63" fmla="*/ 451388 h 607145"/>
              <a:gd name="connsiteX64" fmla="*/ 199760 w 484081"/>
              <a:gd name="connsiteY64" fmla="*/ 451388 h 607145"/>
              <a:gd name="connsiteX65" fmla="*/ 199760 w 484081"/>
              <a:gd name="connsiteY65" fmla="*/ 423378 h 607145"/>
              <a:gd name="connsiteX66" fmla="*/ 214156 w 484081"/>
              <a:gd name="connsiteY66" fmla="*/ 401544 h 607145"/>
              <a:gd name="connsiteX67" fmla="*/ 214156 w 484081"/>
              <a:gd name="connsiteY67" fmla="*/ 338173 h 607145"/>
              <a:gd name="connsiteX68" fmla="*/ 207758 w 484081"/>
              <a:gd name="connsiteY68" fmla="*/ 310163 h 607145"/>
              <a:gd name="connsiteX69" fmla="*/ 205732 w 484081"/>
              <a:gd name="connsiteY69" fmla="*/ 266708 h 607145"/>
              <a:gd name="connsiteX70" fmla="*/ 241988 w 484081"/>
              <a:gd name="connsiteY70" fmla="*/ 254460 h 607145"/>
              <a:gd name="connsiteX71" fmla="*/ 278350 w 484081"/>
              <a:gd name="connsiteY71" fmla="*/ 266601 h 607145"/>
              <a:gd name="connsiteX72" fmla="*/ 276218 w 484081"/>
              <a:gd name="connsiteY72" fmla="*/ 309523 h 607145"/>
              <a:gd name="connsiteX73" fmla="*/ 269606 w 484081"/>
              <a:gd name="connsiteY73" fmla="*/ 338173 h 607145"/>
              <a:gd name="connsiteX74" fmla="*/ 269713 w 484081"/>
              <a:gd name="connsiteY74" fmla="*/ 401437 h 607145"/>
              <a:gd name="connsiteX75" fmla="*/ 284215 w 484081"/>
              <a:gd name="connsiteY75" fmla="*/ 423378 h 607145"/>
              <a:gd name="connsiteX76" fmla="*/ 284215 w 484081"/>
              <a:gd name="connsiteY76" fmla="*/ 451388 h 607145"/>
              <a:gd name="connsiteX77" fmla="*/ 287521 w 484081"/>
              <a:gd name="connsiteY77" fmla="*/ 451388 h 607145"/>
              <a:gd name="connsiteX78" fmla="*/ 311194 w 484081"/>
              <a:gd name="connsiteY78" fmla="*/ 393237 h 607145"/>
              <a:gd name="connsiteX79" fmla="*/ 329855 w 484081"/>
              <a:gd name="connsiteY79" fmla="*/ 368634 h 607145"/>
              <a:gd name="connsiteX80" fmla="*/ 374855 w 484081"/>
              <a:gd name="connsiteY80" fmla="*/ 250306 h 607145"/>
              <a:gd name="connsiteX81" fmla="*/ 241988 w 484081"/>
              <a:gd name="connsiteY81" fmla="*/ 117707 h 607145"/>
              <a:gd name="connsiteX82" fmla="*/ 58649 w 484081"/>
              <a:gd name="connsiteY82" fmla="*/ 101840 h 607145"/>
              <a:gd name="connsiteX83" fmla="*/ 102079 w 484081"/>
              <a:gd name="connsiteY83" fmla="*/ 138446 h 607145"/>
              <a:gd name="connsiteX84" fmla="*/ 103040 w 484081"/>
              <a:gd name="connsiteY84" fmla="*/ 149619 h 607145"/>
              <a:gd name="connsiteX85" fmla="*/ 96957 w 484081"/>
              <a:gd name="connsiteY85" fmla="*/ 152492 h 607145"/>
              <a:gd name="connsiteX86" fmla="*/ 91835 w 484081"/>
              <a:gd name="connsiteY86" fmla="*/ 150576 h 607145"/>
              <a:gd name="connsiteX87" fmla="*/ 48405 w 484081"/>
              <a:gd name="connsiteY87" fmla="*/ 113971 h 607145"/>
              <a:gd name="connsiteX88" fmla="*/ 47444 w 484081"/>
              <a:gd name="connsiteY88" fmla="*/ 102798 h 607145"/>
              <a:gd name="connsiteX89" fmla="*/ 58649 w 484081"/>
              <a:gd name="connsiteY89" fmla="*/ 101840 h 607145"/>
              <a:gd name="connsiteX90" fmla="*/ 425469 w 484081"/>
              <a:gd name="connsiteY90" fmla="*/ 101808 h 607145"/>
              <a:gd name="connsiteX91" fmla="*/ 436674 w 484081"/>
              <a:gd name="connsiteY91" fmla="*/ 102766 h 607145"/>
              <a:gd name="connsiteX92" fmla="*/ 435713 w 484081"/>
              <a:gd name="connsiteY92" fmla="*/ 113946 h 607145"/>
              <a:gd name="connsiteX93" fmla="*/ 392283 w 484081"/>
              <a:gd name="connsiteY93" fmla="*/ 150575 h 607145"/>
              <a:gd name="connsiteX94" fmla="*/ 387161 w 484081"/>
              <a:gd name="connsiteY94" fmla="*/ 152492 h 607145"/>
              <a:gd name="connsiteX95" fmla="*/ 381078 w 484081"/>
              <a:gd name="connsiteY95" fmla="*/ 149617 h 607145"/>
              <a:gd name="connsiteX96" fmla="*/ 382039 w 484081"/>
              <a:gd name="connsiteY96" fmla="*/ 138437 h 607145"/>
              <a:gd name="connsiteX97" fmla="*/ 241988 w 484081"/>
              <a:gd name="connsiteY97" fmla="*/ 99921 h 607145"/>
              <a:gd name="connsiteX98" fmla="*/ 392663 w 484081"/>
              <a:gd name="connsiteY98" fmla="*/ 250306 h 607145"/>
              <a:gd name="connsiteX99" fmla="*/ 325696 w 484081"/>
              <a:gd name="connsiteY99" fmla="*/ 403568 h 607145"/>
              <a:gd name="connsiteX100" fmla="*/ 303623 w 484081"/>
              <a:gd name="connsiteY100" fmla="*/ 469175 h 607145"/>
              <a:gd name="connsiteX101" fmla="*/ 303623 w 484081"/>
              <a:gd name="connsiteY101" fmla="*/ 540320 h 607145"/>
              <a:gd name="connsiteX102" fmla="*/ 180459 w 484081"/>
              <a:gd name="connsiteY102" fmla="*/ 540320 h 607145"/>
              <a:gd name="connsiteX103" fmla="*/ 180459 w 484081"/>
              <a:gd name="connsiteY103" fmla="*/ 469175 h 607145"/>
              <a:gd name="connsiteX104" fmla="*/ 158386 w 484081"/>
              <a:gd name="connsiteY104" fmla="*/ 403568 h 607145"/>
              <a:gd name="connsiteX105" fmla="*/ 91419 w 484081"/>
              <a:gd name="connsiteY105" fmla="*/ 250306 h 607145"/>
              <a:gd name="connsiteX106" fmla="*/ 241988 w 484081"/>
              <a:gd name="connsiteY106" fmla="*/ 99921 h 607145"/>
              <a:gd name="connsiteX107" fmla="*/ 350487 w 484081"/>
              <a:gd name="connsiteY107" fmla="*/ 29684 h 607145"/>
              <a:gd name="connsiteX108" fmla="*/ 354330 w 484081"/>
              <a:gd name="connsiteY108" fmla="*/ 40234 h 607145"/>
              <a:gd name="connsiteX109" fmla="*/ 330526 w 484081"/>
              <a:gd name="connsiteY109" fmla="*/ 91810 h 607145"/>
              <a:gd name="connsiteX110" fmla="*/ 323267 w 484081"/>
              <a:gd name="connsiteY110" fmla="*/ 96392 h 607145"/>
              <a:gd name="connsiteX111" fmla="*/ 319958 w 484081"/>
              <a:gd name="connsiteY111" fmla="*/ 95646 h 607145"/>
              <a:gd name="connsiteX112" fmla="*/ 316009 w 484081"/>
              <a:gd name="connsiteY112" fmla="*/ 85096 h 607145"/>
              <a:gd name="connsiteX113" fmla="*/ 339919 w 484081"/>
              <a:gd name="connsiteY113" fmla="*/ 33521 h 607145"/>
              <a:gd name="connsiteX114" fmla="*/ 350487 w 484081"/>
              <a:gd name="connsiteY114" fmla="*/ 29684 h 607145"/>
              <a:gd name="connsiteX115" fmla="*/ 133594 w 484081"/>
              <a:gd name="connsiteY115" fmla="*/ 29684 h 607145"/>
              <a:gd name="connsiteX116" fmla="*/ 144162 w 484081"/>
              <a:gd name="connsiteY116" fmla="*/ 33521 h 607145"/>
              <a:gd name="connsiteX117" fmla="*/ 167966 w 484081"/>
              <a:gd name="connsiteY117" fmla="*/ 85096 h 607145"/>
              <a:gd name="connsiteX118" fmla="*/ 164123 w 484081"/>
              <a:gd name="connsiteY118" fmla="*/ 95646 h 607145"/>
              <a:gd name="connsiteX119" fmla="*/ 160814 w 484081"/>
              <a:gd name="connsiteY119" fmla="*/ 96392 h 607145"/>
              <a:gd name="connsiteX120" fmla="*/ 153555 w 484081"/>
              <a:gd name="connsiteY120" fmla="*/ 91810 h 607145"/>
              <a:gd name="connsiteX121" fmla="*/ 129752 w 484081"/>
              <a:gd name="connsiteY121" fmla="*/ 40234 h 607145"/>
              <a:gd name="connsiteX122" fmla="*/ 133594 w 484081"/>
              <a:gd name="connsiteY122" fmla="*/ 29684 h 607145"/>
              <a:gd name="connsiteX123" fmla="*/ 241987 w 484081"/>
              <a:gd name="connsiteY123" fmla="*/ 0 h 607145"/>
              <a:gd name="connsiteX124" fmla="*/ 249483 w 484081"/>
              <a:gd name="connsiteY124" fmla="*/ 7772 h 607145"/>
              <a:gd name="connsiteX125" fmla="*/ 249590 w 484081"/>
              <a:gd name="connsiteY125" fmla="*/ 64521 h 607145"/>
              <a:gd name="connsiteX126" fmla="*/ 241987 w 484081"/>
              <a:gd name="connsiteY126" fmla="*/ 72400 h 607145"/>
              <a:gd name="connsiteX127" fmla="*/ 234384 w 484081"/>
              <a:gd name="connsiteY127" fmla="*/ 64521 h 607145"/>
              <a:gd name="connsiteX128" fmla="*/ 234598 w 484081"/>
              <a:gd name="connsiteY128" fmla="*/ 7772 h 607145"/>
              <a:gd name="connsiteX129" fmla="*/ 241987 w 484081"/>
              <a:gd name="connsiteY129" fmla="*/ 0 h 60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484081" h="607145">
                <a:moveTo>
                  <a:pt x="211944" y="577014"/>
                </a:moveTo>
                <a:lnTo>
                  <a:pt x="272136" y="577014"/>
                </a:lnTo>
                <a:cubicBezTo>
                  <a:pt x="272136" y="593624"/>
                  <a:pt x="258606" y="607145"/>
                  <a:pt x="241987" y="607145"/>
                </a:cubicBezTo>
                <a:cubicBezTo>
                  <a:pt x="225367" y="607145"/>
                  <a:pt x="211944" y="593624"/>
                  <a:pt x="211944" y="577014"/>
                </a:cubicBezTo>
                <a:close/>
                <a:moveTo>
                  <a:pt x="386197" y="376834"/>
                </a:moveTo>
                <a:lnTo>
                  <a:pt x="432783" y="409197"/>
                </a:lnTo>
                <a:cubicBezTo>
                  <a:pt x="436407" y="411752"/>
                  <a:pt x="437260" y="416649"/>
                  <a:pt x="434808" y="420269"/>
                </a:cubicBezTo>
                <a:cubicBezTo>
                  <a:pt x="433209" y="422504"/>
                  <a:pt x="430757" y="423675"/>
                  <a:pt x="428199" y="423675"/>
                </a:cubicBezTo>
                <a:cubicBezTo>
                  <a:pt x="426706" y="423675"/>
                  <a:pt x="425107" y="423249"/>
                  <a:pt x="423721" y="422291"/>
                </a:cubicBezTo>
                <a:lnTo>
                  <a:pt x="377029" y="389822"/>
                </a:lnTo>
                <a:cubicBezTo>
                  <a:pt x="373511" y="387373"/>
                  <a:pt x="372551" y="382370"/>
                  <a:pt x="375110" y="378750"/>
                </a:cubicBezTo>
                <a:cubicBezTo>
                  <a:pt x="377562" y="375237"/>
                  <a:pt x="382572" y="374279"/>
                  <a:pt x="386197" y="376834"/>
                </a:cubicBezTo>
                <a:close/>
                <a:moveTo>
                  <a:pt x="97877" y="376834"/>
                </a:moveTo>
                <a:cubicBezTo>
                  <a:pt x="101504" y="374279"/>
                  <a:pt x="106517" y="375237"/>
                  <a:pt x="108970" y="378750"/>
                </a:cubicBezTo>
                <a:cubicBezTo>
                  <a:pt x="111530" y="382370"/>
                  <a:pt x="110570" y="387373"/>
                  <a:pt x="106944" y="389822"/>
                </a:cubicBezTo>
                <a:lnTo>
                  <a:pt x="60333" y="422185"/>
                </a:lnTo>
                <a:cubicBezTo>
                  <a:pt x="58946" y="423143"/>
                  <a:pt x="57346" y="423675"/>
                  <a:pt x="55746" y="423675"/>
                </a:cubicBezTo>
                <a:cubicBezTo>
                  <a:pt x="53293" y="423675"/>
                  <a:pt x="50840" y="422504"/>
                  <a:pt x="49240" y="420269"/>
                </a:cubicBezTo>
                <a:cubicBezTo>
                  <a:pt x="46680" y="416649"/>
                  <a:pt x="47640" y="411752"/>
                  <a:pt x="51267" y="409197"/>
                </a:cubicBezTo>
                <a:close/>
                <a:moveTo>
                  <a:pt x="420647" y="299378"/>
                </a:moveTo>
                <a:lnTo>
                  <a:pt x="476650" y="309063"/>
                </a:lnTo>
                <a:cubicBezTo>
                  <a:pt x="481023" y="309808"/>
                  <a:pt x="483903" y="313852"/>
                  <a:pt x="483156" y="318215"/>
                </a:cubicBezTo>
                <a:cubicBezTo>
                  <a:pt x="482516" y="322046"/>
                  <a:pt x="479103" y="324813"/>
                  <a:pt x="475369" y="324813"/>
                </a:cubicBezTo>
                <a:cubicBezTo>
                  <a:pt x="474943" y="324813"/>
                  <a:pt x="474409" y="324707"/>
                  <a:pt x="473983" y="324707"/>
                </a:cubicBezTo>
                <a:lnTo>
                  <a:pt x="417981" y="315022"/>
                </a:lnTo>
                <a:cubicBezTo>
                  <a:pt x="413607" y="314277"/>
                  <a:pt x="410727" y="310127"/>
                  <a:pt x="411474" y="305870"/>
                </a:cubicBezTo>
                <a:cubicBezTo>
                  <a:pt x="412221" y="301507"/>
                  <a:pt x="416381" y="298633"/>
                  <a:pt x="420647" y="299378"/>
                </a:cubicBezTo>
                <a:close/>
                <a:moveTo>
                  <a:pt x="63326" y="299378"/>
                </a:moveTo>
                <a:cubicBezTo>
                  <a:pt x="67700" y="298633"/>
                  <a:pt x="71860" y="301507"/>
                  <a:pt x="72606" y="305870"/>
                </a:cubicBezTo>
                <a:cubicBezTo>
                  <a:pt x="73353" y="310127"/>
                  <a:pt x="70473" y="314277"/>
                  <a:pt x="66100" y="315022"/>
                </a:cubicBezTo>
                <a:lnTo>
                  <a:pt x="10097" y="324707"/>
                </a:lnTo>
                <a:cubicBezTo>
                  <a:pt x="9671" y="324813"/>
                  <a:pt x="9137" y="324813"/>
                  <a:pt x="8711" y="324813"/>
                </a:cubicBezTo>
                <a:cubicBezTo>
                  <a:pt x="4871" y="324813"/>
                  <a:pt x="1564" y="322046"/>
                  <a:pt x="924" y="318215"/>
                </a:cubicBezTo>
                <a:cubicBezTo>
                  <a:pt x="177" y="313852"/>
                  <a:pt x="3057" y="309808"/>
                  <a:pt x="7324" y="309063"/>
                </a:cubicBezTo>
                <a:close/>
                <a:moveTo>
                  <a:pt x="241988" y="267347"/>
                </a:moveTo>
                <a:cubicBezTo>
                  <a:pt x="228445" y="267347"/>
                  <a:pt x="219488" y="269690"/>
                  <a:pt x="216182" y="274270"/>
                </a:cubicBezTo>
                <a:cubicBezTo>
                  <a:pt x="211597" y="280447"/>
                  <a:pt x="215862" y="293547"/>
                  <a:pt x="220021" y="306115"/>
                </a:cubicBezTo>
                <a:cubicBezTo>
                  <a:pt x="223540" y="316766"/>
                  <a:pt x="227059" y="327736"/>
                  <a:pt x="227059" y="338173"/>
                </a:cubicBezTo>
                <a:lnTo>
                  <a:pt x="227059" y="399520"/>
                </a:lnTo>
                <a:lnTo>
                  <a:pt x="256810" y="399520"/>
                </a:lnTo>
                <a:cubicBezTo>
                  <a:pt x="256810" y="375557"/>
                  <a:pt x="256703" y="351487"/>
                  <a:pt x="256703" y="338173"/>
                </a:cubicBezTo>
                <a:cubicBezTo>
                  <a:pt x="256703" y="327416"/>
                  <a:pt x="260436" y="316340"/>
                  <a:pt x="263955" y="305476"/>
                </a:cubicBezTo>
                <a:cubicBezTo>
                  <a:pt x="268007" y="293121"/>
                  <a:pt x="272272" y="280234"/>
                  <a:pt x="267900" y="274163"/>
                </a:cubicBezTo>
                <a:cubicBezTo>
                  <a:pt x="264594" y="269690"/>
                  <a:pt x="255637" y="267347"/>
                  <a:pt x="241988" y="267347"/>
                </a:cubicBezTo>
                <a:close/>
                <a:moveTo>
                  <a:pt x="474081" y="199813"/>
                </a:moveTo>
                <a:cubicBezTo>
                  <a:pt x="478241" y="198642"/>
                  <a:pt x="482615" y="201090"/>
                  <a:pt x="483789" y="205348"/>
                </a:cubicBezTo>
                <a:cubicBezTo>
                  <a:pt x="484962" y="209605"/>
                  <a:pt x="482509" y="213969"/>
                  <a:pt x="478241" y="215140"/>
                </a:cubicBezTo>
                <a:lnTo>
                  <a:pt x="423409" y="229935"/>
                </a:lnTo>
                <a:cubicBezTo>
                  <a:pt x="422662" y="230148"/>
                  <a:pt x="421915" y="230255"/>
                  <a:pt x="421275" y="230255"/>
                </a:cubicBezTo>
                <a:cubicBezTo>
                  <a:pt x="417755" y="230255"/>
                  <a:pt x="414555" y="227913"/>
                  <a:pt x="413595" y="224400"/>
                </a:cubicBezTo>
                <a:cubicBezTo>
                  <a:pt x="412421" y="220143"/>
                  <a:pt x="414981" y="215779"/>
                  <a:pt x="419142" y="214608"/>
                </a:cubicBezTo>
                <a:close/>
                <a:moveTo>
                  <a:pt x="10000" y="199813"/>
                </a:moveTo>
                <a:lnTo>
                  <a:pt x="64833" y="214608"/>
                </a:lnTo>
                <a:cubicBezTo>
                  <a:pt x="69100" y="215779"/>
                  <a:pt x="71660" y="220143"/>
                  <a:pt x="70487" y="224400"/>
                </a:cubicBezTo>
                <a:cubicBezTo>
                  <a:pt x="69527" y="227913"/>
                  <a:pt x="66326" y="230255"/>
                  <a:pt x="62806" y="230255"/>
                </a:cubicBezTo>
                <a:cubicBezTo>
                  <a:pt x="62059" y="230255"/>
                  <a:pt x="61419" y="230148"/>
                  <a:pt x="60672" y="229935"/>
                </a:cubicBezTo>
                <a:lnTo>
                  <a:pt x="5840" y="215140"/>
                </a:lnTo>
                <a:cubicBezTo>
                  <a:pt x="1573" y="213969"/>
                  <a:pt x="-881" y="209605"/>
                  <a:pt x="293" y="205348"/>
                </a:cubicBezTo>
                <a:cubicBezTo>
                  <a:pt x="1359" y="201090"/>
                  <a:pt x="5733" y="198642"/>
                  <a:pt x="10000" y="199813"/>
                </a:cubicBezTo>
                <a:close/>
                <a:moveTo>
                  <a:pt x="241988" y="117707"/>
                </a:moveTo>
                <a:cubicBezTo>
                  <a:pt x="168836" y="117707"/>
                  <a:pt x="109227" y="177244"/>
                  <a:pt x="109227" y="250306"/>
                </a:cubicBezTo>
                <a:cubicBezTo>
                  <a:pt x="109227" y="311334"/>
                  <a:pt x="127995" y="335298"/>
                  <a:pt x="154121" y="368527"/>
                </a:cubicBezTo>
                <a:cubicBezTo>
                  <a:pt x="160199" y="376302"/>
                  <a:pt x="166490" y="384290"/>
                  <a:pt x="172888" y="393237"/>
                </a:cubicBezTo>
                <a:cubicBezTo>
                  <a:pt x="187817" y="414005"/>
                  <a:pt x="194002" y="436265"/>
                  <a:pt x="196455" y="451388"/>
                </a:cubicBezTo>
                <a:lnTo>
                  <a:pt x="199760" y="451388"/>
                </a:lnTo>
                <a:lnTo>
                  <a:pt x="199760" y="423378"/>
                </a:lnTo>
                <a:cubicBezTo>
                  <a:pt x="199760" y="413579"/>
                  <a:pt x="205732" y="405272"/>
                  <a:pt x="214156" y="401544"/>
                </a:cubicBezTo>
                <a:lnTo>
                  <a:pt x="214156" y="338173"/>
                </a:lnTo>
                <a:cubicBezTo>
                  <a:pt x="214156" y="329759"/>
                  <a:pt x="210957" y="319854"/>
                  <a:pt x="207758" y="310163"/>
                </a:cubicBezTo>
                <a:cubicBezTo>
                  <a:pt x="202639" y="294506"/>
                  <a:pt x="197308" y="278210"/>
                  <a:pt x="205732" y="266708"/>
                </a:cubicBezTo>
                <a:cubicBezTo>
                  <a:pt x="211810" y="258294"/>
                  <a:pt x="223327" y="254460"/>
                  <a:pt x="241988" y="254460"/>
                </a:cubicBezTo>
                <a:cubicBezTo>
                  <a:pt x="260756" y="254460"/>
                  <a:pt x="272272" y="258294"/>
                  <a:pt x="278350" y="266601"/>
                </a:cubicBezTo>
                <a:cubicBezTo>
                  <a:pt x="286561" y="277997"/>
                  <a:pt x="281336" y="294080"/>
                  <a:pt x="276218" y="309523"/>
                </a:cubicBezTo>
                <a:cubicBezTo>
                  <a:pt x="272912" y="319322"/>
                  <a:pt x="269606" y="329546"/>
                  <a:pt x="269606" y="338173"/>
                </a:cubicBezTo>
                <a:cubicBezTo>
                  <a:pt x="269606" y="351806"/>
                  <a:pt x="269713" y="376835"/>
                  <a:pt x="269713" y="401437"/>
                </a:cubicBezTo>
                <a:cubicBezTo>
                  <a:pt x="278244" y="405059"/>
                  <a:pt x="284215" y="413579"/>
                  <a:pt x="284215" y="423378"/>
                </a:cubicBezTo>
                <a:lnTo>
                  <a:pt x="284215" y="451388"/>
                </a:lnTo>
                <a:lnTo>
                  <a:pt x="287521" y="451388"/>
                </a:lnTo>
                <a:cubicBezTo>
                  <a:pt x="290080" y="436265"/>
                  <a:pt x="296265" y="414005"/>
                  <a:pt x="311194" y="393237"/>
                </a:cubicBezTo>
                <a:cubicBezTo>
                  <a:pt x="317485" y="384290"/>
                  <a:pt x="323777" y="376302"/>
                  <a:pt x="329855" y="368634"/>
                </a:cubicBezTo>
                <a:cubicBezTo>
                  <a:pt x="355981" y="335404"/>
                  <a:pt x="374855" y="311441"/>
                  <a:pt x="374855" y="250306"/>
                </a:cubicBezTo>
                <a:cubicBezTo>
                  <a:pt x="374855" y="177244"/>
                  <a:pt x="315246" y="117707"/>
                  <a:pt x="241988" y="117707"/>
                </a:cubicBezTo>
                <a:close/>
                <a:moveTo>
                  <a:pt x="58649" y="101840"/>
                </a:moveTo>
                <a:lnTo>
                  <a:pt x="102079" y="138446"/>
                </a:lnTo>
                <a:cubicBezTo>
                  <a:pt x="105494" y="141319"/>
                  <a:pt x="105814" y="146320"/>
                  <a:pt x="103040" y="149619"/>
                </a:cubicBezTo>
                <a:cubicBezTo>
                  <a:pt x="101439" y="151534"/>
                  <a:pt x="99198" y="152492"/>
                  <a:pt x="96957" y="152492"/>
                </a:cubicBezTo>
                <a:cubicBezTo>
                  <a:pt x="95143" y="152492"/>
                  <a:pt x="93329" y="151853"/>
                  <a:pt x="91835" y="150576"/>
                </a:cubicBezTo>
                <a:lnTo>
                  <a:pt x="48405" y="113971"/>
                </a:lnTo>
                <a:cubicBezTo>
                  <a:pt x="44990" y="111205"/>
                  <a:pt x="44563" y="106203"/>
                  <a:pt x="47444" y="102798"/>
                </a:cubicBezTo>
                <a:cubicBezTo>
                  <a:pt x="50219" y="99499"/>
                  <a:pt x="55234" y="99074"/>
                  <a:pt x="58649" y="101840"/>
                </a:cubicBezTo>
                <a:close/>
                <a:moveTo>
                  <a:pt x="425469" y="101808"/>
                </a:moveTo>
                <a:cubicBezTo>
                  <a:pt x="428777" y="98933"/>
                  <a:pt x="433793" y="99465"/>
                  <a:pt x="436674" y="102766"/>
                </a:cubicBezTo>
                <a:cubicBezTo>
                  <a:pt x="439448" y="106067"/>
                  <a:pt x="439021" y="111178"/>
                  <a:pt x="435713" y="113946"/>
                </a:cubicBezTo>
                <a:lnTo>
                  <a:pt x="392283" y="150575"/>
                </a:lnTo>
                <a:cubicBezTo>
                  <a:pt x="390789" y="151853"/>
                  <a:pt x="388975" y="152492"/>
                  <a:pt x="387161" y="152492"/>
                </a:cubicBezTo>
                <a:cubicBezTo>
                  <a:pt x="384920" y="152492"/>
                  <a:pt x="382679" y="151533"/>
                  <a:pt x="381078" y="149617"/>
                </a:cubicBezTo>
                <a:cubicBezTo>
                  <a:pt x="378197" y="146316"/>
                  <a:pt x="378624" y="141311"/>
                  <a:pt x="382039" y="138437"/>
                </a:cubicBezTo>
                <a:close/>
                <a:moveTo>
                  <a:pt x="241988" y="99921"/>
                </a:moveTo>
                <a:cubicBezTo>
                  <a:pt x="325270" y="99921"/>
                  <a:pt x="392663" y="167232"/>
                  <a:pt x="392663" y="250306"/>
                </a:cubicBezTo>
                <a:cubicBezTo>
                  <a:pt x="392663" y="332742"/>
                  <a:pt x="359180" y="356812"/>
                  <a:pt x="325696" y="403568"/>
                </a:cubicBezTo>
                <a:cubicBezTo>
                  <a:pt x="303623" y="434348"/>
                  <a:pt x="303623" y="469175"/>
                  <a:pt x="303623" y="469175"/>
                </a:cubicBezTo>
                <a:lnTo>
                  <a:pt x="303623" y="540320"/>
                </a:lnTo>
                <a:lnTo>
                  <a:pt x="180459" y="540320"/>
                </a:lnTo>
                <a:lnTo>
                  <a:pt x="180459" y="469175"/>
                </a:lnTo>
                <a:cubicBezTo>
                  <a:pt x="180459" y="469175"/>
                  <a:pt x="180459" y="434348"/>
                  <a:pt x="158386" y="403568"/>
                </a:cubicBezTo>
                <a:cubicBezTo>
                  <a:pt x="124903" y="356812"/>
                  <a:pt x="91419" y="332742"/>
                  <a:pt x="91419" y="250306"/>
                </a:cubicBezTo>
                <a:cubicBezTo>
                  <a:pt x="91419" y="167232"/>
                  <a:pt x="158812" y="99921"/>
                  <a:pt x="241988" y="99921"/>
                </a:cubicBezTo>
                <a:close/>
                <a:moveTo>
                  <a:pt x="350487" y="29684"/>
                </a:moveTo>
                <a:cubicBezTo>
                  <a:pt x="354436" y="31496"/>
                  <a:pt x="356251" y="36291"/>
                  <a:pt x="354330" y="40234"/>
                </a:cubicBezTo>
                <a:lnTo>
                  <a:pt x="330526" y="91810"/>
                </a:lnTo>
                <a:cubicBezTo>
                  <a:pt x="329138" y="94687"/>
                  <a:pt x="326256" y="96392"/>
                  <a:pt x="323267" y="96392"/>
                </a:cubicBezTo>
                <a:cubicBezTo>
                  <a:pt x="322200" y="96392"/>
                  <a:pt x="321026" y="96179"/>
                  <a:pt x="319958" y="95646"/>
                </a:cubicBezTo>
                <a:cubicBezTo>
                  <a:pt x="315902" y="93834"/>
                  <a:pt x="314194" y="89146"/>
                  <a:pt x="316009" y="85096"/>
                </a:cubicBezTo>
                <a:lnTo>
                  <a:pt x="339919" y="33521"/>
                </a:lnTo>
                <a:cubicBezTo>
                  <a:pt x="341734" y="29578"/>
                  <a:pt x="346537" y="27873"/>
                  <a:pt x="350487" y="29684"/>
                </a:cubicBezTo>
                <a:close/>
                <a:moveTo>
                  <a:pt x="133594" y="29684"/>
                </a:moveTo>
                <a:cubicBezTo>
                  <a:pt x="137544" y="27873"/>
                  <a:pt x="142347" y="29578"/>
                  <a:pt x="144162" y="33521"/>
                </a:cubicBezTo>
                <a:lnTo>
                  <a:pt x="167966" y="85096"/>
                </a:lnTo>
                <a:cubicBezTo>
                  <a:pt x="169887" y="89146"/>
                  <a:pt x="168072" y="93834"/>
                  <a:pt x="164123" y="95646"/>
                </a:cubicBezTo>
                <a:cubicBezTo>
                  <a:pt x="163056" y="96179"/>
                  <a:pt x="161881" y="96392"/>
                  <a:pt x="160814" y="96392"/>
                </a:cubicBezTo>
                <a:cubicBezTo>
                  <a:pt x="157825" y="96392"/>
                  <a:pt x="154943" y="94687"/>
                  <a:pt x="153555" y="91810"/>
                </a:cubicBezTo>
                <a:lnTo>
                  <a:pt x="129752" y="40234"/>
                </a:lnTo>
                <a:cubicBezTo>
                  <a:pt x="127830" y="36291"/>
                  <a:pt x="129645" y="31496"/>
                  <a:pt x="133594" y="29684"/>
                </a:cubicBezTo>
                <a:close/>
                <a:moveTo>
                  <a:pt x="241987" y="0"/>
                </a:moveTo>
                <a:cubicBezTo>
                  <a:pt x="246056" y="319"/>
                  <a:pt x="249376" y="3620"/>
                  <a:pt x="249483" y="7772"/>
                </a:cubicBezTo>
                <a:lnTo>
                  <a:pt x="249590" y="64521"/>
                </a:lnTo>
                <a:cubicBezTo>
                  <a:pt x="249697" y="68780"/>
                  <a:pt x="246270" y="72187"/>
                  <a:pt x="241987" y="72400"/>
                </a:cubicBezTo>
                <a:cubicBezTo>
                  <a:pt x="237811" y="72187"/>
                  <a:pt x="234384" y="68780"/>
                  <a:pt x="234384" y="64521"/>
                </a:cubicBezTo>
                <a:lnTo>
                  <a:pt x="234598" y="7772"/>
                </a:lnTo>
                <a:cubicBezTo>
                  <a:pt x="234598" y="3620"/>
                  <a:pt x="238025" y="319"/>
                  <a:pt x="2419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8792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 flipH="1">
            <a:off x="0" y="0"/>
            <a:ext cx="10281140" cy="633100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8219708" y="3133247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文总结</a:t>
            </a:r>
            <a:endParaRPr lang="zh-CN" altLang="en-US" sz="40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980A22-7E37-4178-B442-276318BF5894}"/>
              </a:ext>
            </a:extLst>
          </p:cNvPr>
          <p:cNvSpPr/>
          <p:nvPr/>
        </p:nvSpPr>
        <p:spPr>
          <a:xfrm>
            <a:off x="8509853" y="3867481"/>
            <a:ext cx="16562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of paper</a:t>
            </a:r>
            <a:endParaRPr lang="zh-CN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21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5214918" y="590123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论文总结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椭圆 9">
            <a:extLst>
              <a:ext uri="{FF2B5EF4-FFF2-40B4-BE49-F238E27FC236}">
                <a16:creationId xmlns:a16="http://schemas.microsoft.com/office/drawing/2014/main" id="{DDDDC0EB-1950-42C1-9D47-BDFA7468B3A0}"/>
              </a:ext>
            </a:extLst>
          </p:cNvPr>
          <p:cNvSpPr/>
          <p:nvPr/>
        </p:nvSpPr>
        <p:spPr>
          <a:xfrm>
            <a:off x="870516" y="2344721"/>
            <a:ext cx="2284260" cy="2284260"/>
          </a:xfrm>
          <a:prstGeom prst="ellipse">
            <a:avLst/>
          </a:prstGeom>
          <a:solidFill>
            <a:srgbClr val="85BBC3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457200">
              <a:defRPr/>
            </a:pPr>
            <a:endParaRPr lang="zh-CN" altLang="en-US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8E25598F-F9A3-4BDC-891B-588B688837C2}"/>
              </a:ext>
            </a:extLst>
          </p:cNvPr>
          <p:cNvSpPr/>
          <p:nvPr/>
        </p:nvSpPr>
        <p:spPr>
          <a:xfrm>
            <a:off x="1110799" y="2136515"/>
            <a:ext cx="719266" cy="717684"/>
          </a:xfrm>
          <a:prstGeom prst="ellipse">
            <a:avLst/>
          </a:prstGeom>
          <a:solidFill>
            <a:srgbClr val="85BBC3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216000" anchor="ctr"/>
          <a:lstStyle/>
          <a:p>
            <a:pPr algn="ctr">
              <a:defRPr/>
            </a:pPr>
            <a:r>
              <a:rPr lang="en-US" altLang="zh-CN" sz="3200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  <a:endParaRPr lang="zh-CN" alt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8F3942E0-B02A-4C0B-86F3-509E3D6F7F9B}"/>
              </a:ext>
            </a:extLst>
          </p:cNvPr>
          <p:cNvSpPr/>
          <p:nvPr/>
        </p:nvSpPr>
        <p:spPr>
          <a:xfrm>
            <a:off x="1111203" y="2585061"/>
            <a:ext cx="1802161" cy="1802160"/>
          </a:xfrm>
          <a:prstGeom prst="ellipse">
            <a:avLst/>
          </a:prstGeom>
          <a:solidFill>
            <a:schemeClr val="bg1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lvl="0" algn="ctr">
              <a:defRPr/>
            </a:pPr>
            <a:endParaRPr lang="en-US" altLang="zh-CN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796A356F-96FC-46E3-86EC-88CDC8606A52}"/>
              </a:ext>
            </a:extLst>
          </p:cNvPr>
          <p:cNvSpPr/>
          <p:nvPr/>
        </p:nvSpPr>
        <p:spPr>
          <a:xfrm>
            <a:off x="3592752" y="2344721"/>
            <a:ext cx="2284260" cy="2284260"/>
          </a:xfrm>
          <a:prstGeom prst="ellipse">
            <a:avLst/>
          </a:prstGeom>
          <a:solidFill>
            <a:srgbClr val="00817D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457200">
              <a:defRPr/>
            </a:pPr>
            <a:endParaRPr lang="zh-CN" altLang="en-US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E0709E79-80FE-4908-9A34-918FA4C26F8A}"/>
              </a:ext>
            </a:extLst>
          </p:cNvPr>
          <p:cNvSpPr/>
          <p:nvPr/>
        </p:nvSpPr>
        <p:spPr>
          <a:xfrm>
            <a:off x="3833035" y="2136515"/>
            <a:ext cx="719266" cy="717684"/>
          </a:xfrm>
          <a:prstGeom prst="ellipse">
            <a:avLst/>
          </a:prstGeom>
          <a:solidFill>
            <a:srgbClr val="00817D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216000" anchor="ctr"/>
          <a:lstStyle/>
          <a:p>
            <a:pPr algn="ctr">
              <a:defRPr/>
            </a:pPr>
            <a:r>
              <a:rPr lang="en-US" altLang="zh-CN" sz="3200" dirty="0">
                <a:solidFill>
                  <a:schemeClr val="bg1"/>
                </a:solidFill>
                <a:cs typeface="+mn-ea"/>
                <a:sym typeface="+mn-lt"/>
              </a:rPr>
              <a:t>02</a:t>
            </a:r>
            <a:endParaRPr lang="zh-CN" alt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DAEE8CE4-74EC-44E2-A679-A20A789E424E}"/>
              </a:ext>
            </a:extLst>
          </p:cNvPr>
          <p:cNvSpPr/>
          <p:nvPr/>
        </p:nvSpPr>
        <p:spPr>
          <a:xfrm>
            <a:off x="3833439" y="2585061"/>
            <a:ext cx="1802161" cy="1802160"/>
          </a:xfrm>
          <a:prstGeom prst="ellipse">
            <a:avLst/>
          </a:prstGeom>
          <a:solidFill>
            <a:schemeClr val="bg1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lvl="0" algn="ctr">
              <a:defRPr/>
            </a:pPr>
            <a:endParaRPr lang="en-US" altLang="zh-CN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8BFB28E6-7430-4275-9196-2DE62B42D025}"/>
              </a:ext>
            </a:extLst>
          </p:cNvPr>
          <p:cNvSpPr/>
          <p:nvPr/>
        </p:nvSpPr>
        <p:spPr>
          <a:xfrm>
            <a:off x="6314988" y="2344721"/>
            <a:ext cx="2284260" cy="2284260"/>
          </a:xfrm>
          <a:prstGeom prst="ellipse">
            <a:avLst/>
          </a:prstGeom>
          <a:solidFill>
            <a:srgbClr val="85BBC3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457200">
              <a:defRPr/>
            </a:pPr>
            <a:endParaRPr lang="zh-CN" altLang="en-US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19AC8317-45A3-4AA9-BD55-2D4FFE1BDC6A}"/>
              </a:ext>
            </a:extLst>
          </p:cNvPr>
          <p:cNvSpPr/>
          <p:nvPr/>
        </p:nvSpPr>
        <p:spPr>
          <a:xfrm>
            <a:off x="6555271" y="2136515"/>
            <a:ext cx="719266" cy="717684"/>
          </a:xfrm>
          <a:prstGeom prst="ellipse">
            <a:avLst/>
          </a:prstGeom>
          <a:solidFill>
            <a:srgbClr val="85BBC3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216000" anchor="ctr"/>
          <a:lstStyle/>
          <a:p>
            <a:pPr algn="ctr">
              <a:defRPr/>
            </a:pPr>
            <a:r>
              <a:rPr lang="en-US" altLang="zh-CN" sz="3200" dirty="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zh-CN" alt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351E49C2-D1C4-4025-A928-9B3536893189}"/>
              </a:ext>
            </a:extLst>
          </p:cNvPr>
          <p:cNvSpPr/>
          <p:nvPr/>
        </p:nvSpPr>
        <p:spPr>
          <a:xfrm>
            <a:off x="6555675" y="2585061"/>
            <a:ext cx="1802161" cy="1802160"/>
          </a:xfrm>
          <a:prstGeom prst="ellipse">
            <a:avLst/>
          </a:prstGeom>
          <a:solidFill>
            <a:schemeClr val="bg1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lvl="0" algn="ctr">
              <a:defRPr/>
            </a:pPr>
            <a:endParaRPr lang="en-US" altLang="zh-CN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62049FC6-1C9B-4EF3-A741-890D039656D2}"/>
              </a:ext>
            </a:extLst>
          </p:cNvPr>
          <p:cNvSpPr/>
          <p:nvPr/>
        </p:nvSpPr>
        <p:spPr>
          <a:xfrm>
            <a:off x="9037225" y="2344721"/>
            <a:ext cx="2284260" cy="2284260"/>
          </a:xfrm>
          <a:prstGeom prst="ellipse">
            <a:avLst/>
          </a:prstGeom>
          <a:solidFill>
            <a:srgbClr val="00817D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457200">
              <a:defRPr/>
            </a:pPr>
            <a:endParaRPr lang="zh-CN" altLang="en-US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AC338766-EC52-4C1D-AD17-E826B5CF6D3A}"/>
              </a:ext>
            </a:extLst>
          </p:cNvPr>
          <p:cNvSpPr/>
          <p:nvPr/>
        </p:nvSpPr>
        <p:spPr>
          <a:xfrm>
            <a:off x="9277508" y="2136515"/>
            <a:ext cx="719266" cy="717684"/>
          </a:xfrm>
          <a:prstGeom prst="ellipse">
            <a:avLst/>
          </a:prstGeom>
          <a:solidFill>
            <a:srgbClr val="00817D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216000" anchor="ctr"/>
          <a:lstStyle/>
          <a:p>
            <a:pPr algn="ctr">
              <a:defRPr/>
            </a:pPr>
            <a:r>
              <a:rPr lang="en-US" altLang="zh-CN" sz="3200" dirty="0">
                <a:solidFill>
                  <a:schemeClr val="bg1"/>
                </a:solidFill>
                <a:cs typeface="+mn-ea"/>
                <a:sym typeface="+mn-lt"/>
              </a:rPr>
              <a:t>04</a:t>
            </a:r>
            <a:endParaRPr lang="zh-CN" alt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10BA2A92-31FA-4D9B-A856-5AF8F39E87D7}"/>
              </a:ext>
            </a:extLst>
          </p:cNvPr>
          <p:cNvSpPr/>
          <p:nvPr/>
        </p:nvSpPr>
        <p:spPr>
          <a:xfrm>
            <a:off x="9277912" y="2585061"/>
            <a:ext cx="1802161" cy="1802160"/>
          </a:xfrm>
          <a:prstGeom prst="ellipse">
            <a:avLst/>
          </a:prstGeom>
          <a:solidFill>
            <a:schemeClr val="bg1"/>
          </a:solidFill>
          <a:ln w="2540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lvl="0" algn="ctr">
              <a:defRPr/>
            </a:pPr>
            <a:endParaRPr lang="en-US" altLang="zh-CN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47246EC-A696-4B9E-9192-90572FE7A353}"/>
              </a:ext>
            </a:extLst>
          </p:cNvPr>
          <p:cNvSpPr txBox="1"/>
          <p:nvPr/>
        </p:nvSpPr>
        <p:spPr>
          <a:xfrm>
            <a:off x="3953992" y="2922003"/>
            <a:ext cx="1569367" cy="1222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sce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osuere, magna sed pulvinar ultricies, purus lectus malesuada libero, sit amet commodo magna eros quis </a:t>
            </a: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urna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52F56B86-ED2A-4B50-B2E6-F2241E04340B}"/>
              </a:ext>
            </a:extLst>
          </p:cNvPr>
          <p:cNvSpPr txBox="1"/>
          <p:nvPr/>
        </p:nvSpPr>
        <p:spPr>
          <a:xfrm>
            <a:off x="1260400" y="2922003"/>
            <a:ext cx="1569367" cy="1222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sce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osuere, magna sed pulvinar ultricies, purus lectus malesuada libero, sit amet commodo magna eros quis </a:t>
            </a: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urna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09AAAB7-601C-43A9-8EAE-F44760C1EC66}"/>
              </a:ext>
            </a:extLst>
          </p:cNvPr>
          <p:cNvSpPr txBox="1"/>
          <p:nvPr/>
        </p:nvSpPr>
        <p:spPr>
          <a:xfrm>
            <a:off x="6672071" y="2922003"/>
            <a:ext cx="1569367" cy="1222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sce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osuere, magna sed pulvinar ultricies, purus lectus malesuada libero, sit amet commodo magna eros quis </a:t>
            </a: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urna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D2AC39E-CA69-4318-93DF-DBF8C10619B1}"/>
              </a:ext>
            </a:extLst>
          </p:cNvPr>
          <p:cNvSpPr txBox="1"/>
          <p:nvPr/>
        </p:nvSpPr>
        <p:spPr>
          <a:xfrm>
            <a:off x="9394308" y="2922003"/>
            <a:ext cx="1569367" cy="1222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sce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osuere, magna sed pulvinar ultricies, purus lectus malesuada libero, sit amet commodo magna eros quis </a:t>
            </a:r>
            <a:r>
              <a:rPr lang="en-US" altLang="zh-CN" sz="1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urna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94F7658-F9FE-4CB2-8D48-51129E2898C0}"/>
              </a:ext>
            </a:extLst>
          </p:cNvPr>
          <p:cNvSpPr/>
          <p:nvPr/>
        </p:nvSpPr>
        <p:spPr>
          <a:xfrm>
            <a:off x="1234604" y="4965923"/>
            <a:ext cx="162095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此处添加标题文本</a:t>
            </a:r>
            <a:endParaRPr lang="en-US" altLang="zh-CN" sz="14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BB3F224-15E1-4417-8257-9EFEE02421DE}"/>
              </a:ext>
            </a:extLst>
          </p:cNvPr>
          <p:cNvSpPr/>
          <p:nvPr/>
        </p:nvSpPr>
        <p:spPr>
          <a:xfrm>
            <a:off x="3924040" y="4965923"/>
            <a:ext cx="162095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此处添加标题文本</a:t>
            </a:r>
            <a:endParaRPr lang="en-US" altLang="zh-CN" sz="14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7C73CC67-8B39-498F-BBB4-5CFC333991AF}"/>
              </a:ext>
            </a:extLst>
          </p:cNvPr>
          <p:cNvSpPr/>
          <p:nvPr/>
        </p:nvSpPr>
        <p:spPr>
          <a:xfrm>
            <a:off x="6646275" y="4965922"/>
            <a:ext cx="162095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此处添加标题文本</a:t>
            </a:r>
            <a:endParaRPr lang="en-US" altLang="zh-CN" sz="14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6B542828-0214-48A5-BA45-40570C46BAB1}"/>
              </a:ext>
            </a:extLst>
          </p:cNvPr>
          <p:cNvSpPr/>
          <p:nvPr/>
        </p:nvSpPr>
        <p:spPr>
          <a:xfrm>
            <a:off x="9368510" y="4965922"/>
            <a:ext cx="162095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此处添加标题文本</a:t>
            </a:r>
            <a:endParaRPr lang="en-US" altLang="zh-CN" sz="14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9813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5214918" y="590123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论文总结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7" name="单波形 834">
            <a:extLst>
              <a:ext uri="{FF2B5EF4-FFF2-40B4-BE49-F238E27FC236}">
                <a16:creationId xmlns:a16="http://schemas.microsoft.com/office/drawing/2014/main" id="{E691294C-F5AE-4499-8C0F-EF7244B0C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4100" y="2009775"/>
            <a:ext cx="2563813" cy="1905000"/>
          </a:xfrm>
          <a:prstGeom prst="wave">
            <a:avLst>
              <a:gd name="adj1" fmla="val 6931"/>
              <a:gd name="adj2" fmla="val 0"/>
            </a:avLst>
          </a:prstGeom>
          <a:solidFill>
            <a:srgbClr val="00817D"/>
          </a:solidFill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8800" b="1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s</a:t>
            </a:r>
          </a:p>
        </p:txBody>
      </p:sp>
      <p:sp>
        <p:nvSpPr>
          <p:cNvPr id="38" name="单波形 834">
            <a:extLst>
              <a:ext uri="{FF2B5EF4-FFF2-40B4-BE49-F238E27FC236}">
                <a16:creationId xmlns:a16="http://schemas.microsoft.com/office/drawing/2014/main" id="{F577C26A-A7DC-447B-9C8F-23CBF5D5F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338" y="2009775"/>
            <a:ext cx="2563812" cy="1905000"/>
          </a:xfrm>
          <a:prstGeom prst="wave">
            <a:avLst>
              <a:gd name="adj1" fmla="val 6931"/>
              <a:gd name="adj2" fmla="val 0"/>
            </a:avLst>
          </a:prstGeom>
          <a:solidFill>
            <a:srgbClr val="85BBC3"/>
          </a:solidFill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8800" b="1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w</a:t>
            </a:r>
          </a:p>
        </p:txBody>
      </p:sp>
      <p:sp>
        <p:nvSpPr>
          <p:cNvPr id="39" name="单波形 834">
            <a:extLst>
              <a:ext uri="{FF2B5EF4-FFF2-40B4-BE49-F238E27FC236}">
                <a16:creationId xmlns:a16="http://schemas.microsoft.com/office/drawing/2014/main" id="{19C01B0A-295A-4C62-9BAD-C697B498A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4100" y="3759200"/>
            <a:ext cx="2563813" cy="1905000"/>
          </a:xfrm>
          <a:prstGeom prst="wave">
            <a:avLst>
              <a:gd name="adj1" fmla="val 6931"/>
              <a:gd name="adj2" fmla="val 0"/>
            </a:avLst>
          </a:prstGeom>
          <a:solidFill>
            <a:srgbClr val="85BBC3"/>
          </a:solidFill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8800" b="1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o</a:t>
            </a:r>
          </a:p>
        </p:txBody>
      </p:sp>
      <p:sp>
        <p:nvSpPr>
          <p:cNvPr id="40" name="单波形 834">
            <a:extLst>
              <a:ext uri="{FF2B5EF4-FFF2-40B4-BE49-F238E27FC236}">
                <a16:creationId xmlns:a16="http://schemas.microsoft.com/office/drawing/2014/main" id="{FF2D7927-B297-4624-A845-D794FEB0D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2688" y="3759200"/>
            <a:ext cx="2563812" cy="1905000"/>
          </a:xfrm>
          <a:prstGeom prst="wave">
            <a:avLst>
              <a:gd name="adj1" fmla="val 6931"/>
              <a:gd name="adj2" fmla="val 0"/>
            </a:avLst>
          </a:prstGeom>
          <a:solidFill>
            <a:srgbClr val="00817D"/>
          </a:solidFill>
          <a:ln>
            <a:noFill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8800" b="1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t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1A6423C2-2435-4C20-8EB4-D85B6F05DCDE}"/>
              </a:ext>
            </a:extLst>
          </p:cNvPr>
          <p:cNvSpPr txBox="1"/>
          <p:nvPr/>
        </p:nvSpPr>
        <p:spPr>
          <a:xfrm>
            <a:off x="449148" y="2798850"/>
            <a:ext cx="272231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DF89A830-ACC7-4A3A-B734-3C8E6B8BF06B}"/>
              </a:ext>
            </a:extLst>
          </p:cNvPr>
          <p:cNvSpPr/>
          <p:nvPr/>
        </p:nvSpPr>
        <p:spPr>
          <a:xfrm>
            <a:off x="547889" y="2269085"/>
            <a:ext cx="1681420" cy="367719"/>
          </a:xfrm>
          <a:prstGeom prst="rect">
            <a:avLst/>
          </a:prstGeom>
          <a:solidFill>
            <a:srgbClr val="008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输入标题文本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2A8635B-17D4-4239-A934-6F6542A63C12}"/>
              </a:ext>
            </a:extLst>
          </p:cNvPr>
          <p:cNvSpPr txBox="1"/>
          <p:nvPr/>
        </p:nvSpPr>
        <p:spPr>
          <a:xfrm>
            <a:off x="449148" y="4688610"/>
            <a:ext cx="272231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8B24AF60-72FD-4F04-8780-3E6456108B7A}"/>
              </a:ext>
            </a:extLst>
          </p:cNvPr>
          <p:cNvSpPr/>
          <p:nvPr/>
        </p:nvSpPr>
        <p:spPr>
          <a:xfrm>
            <a:off x="547889" y="4158845"/>
            <a:ext cx="1681420" cy="367719"/>
          </a:xfrm>
          <a:prstGeom prst="rect">
            <a:avLst/>
          </a:prstGeom>
          <a:solidFill>
            <a:srgbClr val="85B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输入标题文本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D58DDC7D-9C2B-4D34-9F8A-82658CB87F91}"/>
              </a:ext>
            </a:extLst>
          </p:cNvPr>
          <p:cNvSpPr txBox="1"/>
          <p:nvPr/>
        </p:nvSpPr>
        <p:spPr>
          <a:xfrm>
            <a:off x="9020536" y="2798850"/>
            <a:ext cx="272231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E6EDE66F-C542-4741-8072-17C38BA23112}"/>
              </a:ext>
            </a:extLst>
          </p:cNvPr>
          <p:cNvSpPr/>
          <p:nvPr/>
        </p:nvSpPr>
        <p:spPr>
          <a:xfrm>
            <a:off x="9952655" y="2269085"/>
            <a:ext cx="1681420" cy="367719"/>
          </a:xfrm>
          <a:prstGeom prst="rect">
            <a:avLst/>
          </a:prstGeom>
          <a:solidFill>
            <a:srgbClr val="85B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输入标题文本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6ADA68D-38FF-42A8-B346-B1C5D8E252D5}"/>
              </a:ext>
            </a:extLst>
          </p:cNvPr>
          <p:cNvSpPr txBox="1"/>
          <p:nvPr/>
        </p:nvSpPr>
        <p:spPr>
          <a:xfrm>
            <a:off x="9020536" y="4688610"/>
            <a:ext cx="2722316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sce posuere, magna sed pulvinar ultricies, purus lectus malesuada libero, sit amet commodo magna eros quis </a:t>
            </a:r>
            <a:r>
              <a:rPr lang="en-US" altLang="zh-CN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99C275C6-9F91-4082-AA91-54F8F59A726A}"/>
              </a:ext>
            </a:extLst>
          </p:cNvPr>
          <p:cNvSpPr/>
          <p:nvPr/>
        </p:nvSpPr>
        <p:spPr>
          <a:xfrm>
            <a:off x="9952655" y="4158845"/>
            <a:ext cx="1681420" cy="367719"/>
          </a:xfrm>
          <a:prstGeom prst="rect">
            <a:avLst/>
          </a:prstGeom>
          <a:solidFill>
            <a:srgbClr val="008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输入标题文本</a:t>
            </a:r>
          </a:p>
        </p:txBody>
      </p:sp>
    </p:spTree>
    <p:extLst>
      <p:ext uri="{BB962C8B-B14F-4D97-AF65-F5344CB8AC3E}">
        <p14:creationId xmlns:p14="http://schemas.microsoft.com/office/powerpoint/2010/main" val="2359826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>
            <a:off x="1910860" y="-19050"/>
            <a:ext cx="10281140" cy="6331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03019" y="2487780"/>
            <a:ext cx="73860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感谢观赏</a:t>
            </a:r>
            <a:endParaRPr lang="zh-CN" altLang="en-US" sz="6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4459" y="3856879"/>
            <a:ext cx="504963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00" dirty="0" smtClean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900" dirty="0" err="1" smtClean="0"/>
              <a:t>urna</a:t>
            </a:r>
            <a:r>
              <a:rPr lang="en-US" altLang="zh-CN" sz="900" dirty="0" smtClean="0"/>
              <a:t>.</a:t>
            </a:r>
          </a:p>
        </p:txBody>
      </p:sp>
      <p:sp>
        <p:nvSpPr>
          <p:cNvPr id="2" name="矩形 1"/>
          <p:cNvSpPr/>
          <p:nvPr/>
        </p:nvSpPr>
        <p:spPr>
          <a:xfrm>
            <a:off x="694459" y="3536798"/>
            <a:ext cx="4725439" cy="241069"/>
          </a:xfrm>
          <a:prstGeom prst="rect">
            <a:avLst/>
          </a:prstGeom>
          <a:solidFill>
            <a:srgbClr val="2C9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-59688" y="3503443"/>
            <a:ext cx="61100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毕业答辩 教育教学 开题报告 教学课件 答辩计划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6624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>
            <a:off x="1910860" y="-19050"/>
            <a:ext cx="10281140" cy="6331000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1121804" y="2241471"/>
            <a:ext cx="4042061" cy="487566"/>
            <a:chOff x="2237993" y="4042701"/>
            <a:chExt cx="7924440" cy="955870"/>
          </a:xfrm>
        </p:grpSpPr>
        <p:sp>
          <p:nvSpPr>
            <p:cNvPr id="8" name="形状">
              <a:extLst>
                <a:ext uri="{FF2B5EF4-FFF2-40B4-BE49-F238E27FC236}">
                  <a16:creationId xmlns:a16="http://schemas.microsoft.com/office/drawing/2014/main" id="{F47AD865-09C0-465C-920B-8B5CBD771BA4}"/>
                </a:ext>
              </a:extLst>
            </p:cNvPr>
            <p:cNvSpPr/>
            <p:nvPr/>
          </p:nvSpPr>
          <p:spPr>
            <a:xfrm>
              <a:off x="2237993" y="4042701"/>
              <a:ext cx="7924440" cy="955870"/>
            </a:xfrm>
            <a:custGeom>
              <a:avLst/>
              <a:gdLst>
                <a:gd name="connsiteX0" fmla="*/ 0 w 8665700"/>
                <a:gd name="connsiteY0" fmla="*/ 477934 h 955870"/>
                <a:gd name="connsiteX1" fmla="*/ 0 w 8665700"/>
                <a:gd name="connsiteY1" fmla="*/ 477935 h 955870"/>
                <a:gd name="connsiteX2" fmla="*/ 0 w 8665700"/>
                <a:gd name="connsiteY2" fmla="*/ 477935 h 955870"/>
                <a:gd name="connsiteX3" fmla="*/ 484260 w 8665700"/>
                <a:gd name="connsiteY3" fmla="*/ 146075 h 955870"/>
                <a:gd name="connsiteX4" fmla="*/ 152401 w 8665700"/>
                <a:gd name="connsiteY4" fmla="*/ 477934 h 955870"/>
                <a:gd name="connsiteX5" fmla="*/ 484260 w 8665700"/>
                <a:gd name="connsiteY5" fmla="*/ 809793 h 955870"/>
                <a:gd name="connsiteX6" fmla="*/ 7417942 w 8665700"/>
                <a:gd name="connsiteY6" fmla="*/ 809793 h 955870"/>
                <a:gd name="connsiteX7" fmla="*/ 7749801 w 8665700"/>
                <a:gd name="connsiteY7" fmla="*/ 477934 h 955870"/>
                <a:gd name="connsiteX8" fmla="*/ 7417942 w 8665700"/>
                <a:gd name="connsiteY8" fmla="*/ 146075 h 955870"/>
                <a:gd name="connsiteX9" fmla="*/ 477935 w 8665700"/>
                <a:gd name="connsiteY9" fmla="*/ 0 h 955870"/>
                <a:gd name="connsiteX10" fmla="*/ 8187765 w 8665700"/>
                <a:gd name="connsiteY10" fmla="*/ 0 h 955870"/>
                <a:gd name="connsiteX11" fmla="*/ 8665700 w 8665700"/>
                <a:gd name="connsiteY11" fmla="*/ 477935 h 955870"/>
                <a:gd name="connsiteX12" fmla="*/ 8665699 w 8665700"/>
                <a:gd name="connsiteY12" fmla="*/ 477935 h 955870"/>
                <a:gd name="connsiteX13" fmla="*/ 8187764 w 8665700"/>
                <a:gd name="connsiteY13" fmla="*/ 955870 h 955870"/>
                <a:gd name="connsiteX14" fmla="*/ 477935 w 8665700"/>
                <a:gd name="connsiteY14" fmla="*/ 955869 h 955870"/>
                <a:gd name="connsiteX15" fmla="*/ 9710 w 8665700"/>
                <a:gd name="connsiteY15" fmla="*/ 574255 h 955870"/>
                <a:gd name="connsiteX16" fmla="*/ 0 w 8665700"/>
                <a:gd name="connsiteY16" fmla="*/ 477935 h 955870"/>
                <a:gd name="connsiteX17" fmla="*/ 9710 w 8665700"/>
                <a:gd name="connsiteY17" fmla="*/ 381615 h 955870"/>
                <a:gd name="connsiteX18" fmla="*/ 477935 w 8665700"/>
                <a:gd name="connsiteY18" fmla="*/ 0 h 95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665700" h="955870">
                  <a:moveTo>
                    <a:pt x="0" y="477934"/>
                  </a:moveTo>
                  <a:lnTo>
                    <a:pt x="0" y="477935"/>
                  </a:lnTo>
                  <a:lnTo>
                    <a:pt x="0" y="477935"/>
                  </a:lnTo>
                  <a:close/>
                  <a:moveTo>
                    <a:pt x="484260" y="146075"/>
                  </a:moveTo>
                  <a:cubicBezTo>
                    <a:pt x="300979" y="146075"/>
                    <a:pt x="152401" y="294653"/>
                    <a:pt x="152401" y="477934"/>
                  </a:cubicBezTo>
                  <a:cubicBezTo>
                    <a:pt x="152401" y="661215"/>
                    <a:pt x="300979" y="809793"/>
                    <a:pt x="484260" y="809793"/>
                  </a:cubicBezTo>
                  <a:lnTo>
                    <a:pt x="7417942" y="809793"/>
                  </a:lnTo>
                  <a:cubicBezTo>
                    <a:pt x="7601223" y="809793"/>
                    <a:pt x="7749801" y="661215"/>
                    <a:pt x="7749801" y="477934"/>
                  </a:cubicBezTo>
                  <a:cubicBezTo>
                    <a:pt x="7749801" y="294653"/>
                    <a:pt x="7601223" y="146075"/>
                    <a:pt x="7417942" y="146075"/>
                  </a:cubicBezTo>
                  <a:close/>
                  <a:moveTo>
                    <a:pt x="477935" y="0"/>
                  </a:moveTo>
                  <a:lnTo>
                    <a:pt x="8187765" y="0"/>
                  </a:lnTo>
                  <a:cubicBezTo>
                    <a:pt x="8451721" y="0"/>
                    <a:pt x="8665700" y="213979"/>
                    <a:pt x="8665700" y="477935"/>
                  </a:cubicBezTo>
                  <a:lnTo>
                    <a:pt x="8665699" y="477935"/>
                  </a:lnTo>
                  <a:cubicBezTo>
                    <a:pt x="8665699" y="741891"/>
                    <a:pt x="8451720" y="955870"/>
                    <a:pt x="8187764" y="955870"/>
                  </a:cubicBezTo>
                  <a:lnTo>
                    <a:pt x="477935" y="955869"/>
                  </a:lnTo>
                  <a:cubicBezTo>
                    <a:pt x="246974" y="955869"/>
                    <a:pt x="54276" y="792041"/>
                    <a:pt x="9710" y="574255"/>
                  </a:cubicBezTo>
                  <a:lnTo>
                    <a:pt x="0" y="477935"/>
                  </a:lnTo>
                  <a:lnTo>
                    <a:pt x="9710" y="381615"/>
                  </a:lnTo>
                  <a:cubicBezTo>
                    <a:pt x="54276" y="163828"/>
                    <a:pt x="246974" y="0"/>
                    <a:pt x="47793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44000">
                  <a:srgbClr val="00CDC4"/>
                </a:gs>
                <a:gs pos="100000">
                  <a:srgbClr val="5EBAE6">
                    <a:alpha val="31000"/>
                  </a:srgbClr>
                </a:gs>
              </a:gsLst>
              <a:lin ang="108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50800" dist="25400" dir="10800000" algn="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图标">
              <a:extLst>
                <a:ext uri="{FF2B5EF4-FFF2-40B4-BE49-F238E27FC236}">
                  <a16:creationId xmlns:a16="http://schemas.microsoft.com/office/drawing/2014/main" id="{0DCE396B-56CD-45D7-98D7-106617701172}"/>
                </a:ext>
              </a:extLst>
            </p:cNvPr>
            <p:cNvSpPr/>
            <p:nvPr/>
          </p:nvSpPr>
          <p:spPr>
            <a:xfrm rot="2700000">
              <a:off x="9502759" y="4271399"/>
              <a:ext cx="283417" cy="631394"/>
            </a:xfrm>
            <a:custGeom>
              <a:avLst/>
              <a:gdLst/>
              <a:ahLst/>
              <a:cxnLst/>
              <a:rect l="l" t="t" r="r" b="b"/>
              <a:pathLst>
                <a:path w="154109" h="343323">
                  <a:moveTo>
                    <a:pt x="102909" y="313772"/>
                  </a:moveTo>
                  <a:lnTo>
                    <a:pt x="102909" y="328547"/>
                  </a:lnTo>
                  <a:cubicBezTo>
                    <a:pt x="102909" y="336708"/>
                    <a:pt x="96294" y="343322"/>
                    <a:pt x="88133" y="343323"/>
                  </a:cubicBezTo>
                  <a:lnTo>
                    <a:pt x="65975" y="343322"/>
                  </a:lnTo>
                  <a:cubicBezTo>
                    <a:pt x="57814" y="343322"/>
                    <a:pt x="51199" y="336708"/>
                    <a:pt x="51199" y="328547"/>
                  </a:cubicBezTo>
                  <a:cubicBezTo>
                    <a:pt x="51199" y="323622"/>
                    <a:pt x="51200" y="318696"/>
                    <a:pt x="51200" y="313771"/>
                  </a:cubicBezTo>
                  <a:close/>
                  <a:moveTo>
                    <a:pt x="123327" y="15459"/>
                  </a:moveTo>
                  <a:cubicBezTo>
                    <a:pt x="141678" y="29245"/>
                    <a:pt x="152926" y="50497"/>
                    <a:pt x="154008" y="73425"/>
                  </a:cubicBezTo>
                  <a:cubicBezTo>
                    <a:pt x="155089" y="96353"/>
                    <a:pt x="145890" y="118568"/>
                    <a:pt x="128916" y="134021"/>
                  </a:cubicBezTo>
                  <a:lnTo>
                    <a:pt x="119294" y="123450"/>
                  </a:lnTo>
                  <a:cubicBezTo>
                    <a:pt x="133118" y="110865"/>
                    <a:pt x="140611" y="92772"/>
                    <a:pt x="139730" y="74098"/>
                  </a:cubicBezTo>
                  <a:cubicBezTo>
                    <a:pt x="138850" y="55424"/>
                    <a:pt x="129689" y="38115"/>
                    <a:pt x="114743" y="26887"/>
                  </a:cubicBezTo>
                  <a:close/>
                  <a:moveTo>
                    <a:pt x="136698" y="17411"/>
                  </a:moveTo>
                  <a:cubicBezTo>
                    <a:pt x="103758" y="-15529"/>
                    <a:pt x="50351" y="-15529"/>
                    <a:pt x="17412" y="17411"/>
                  </a:cubicBezTo>
                  <a:cubicBezTo>
                    <a:pt x="-15528" y="50351"/>
                    <a:pt x="-15528" y="103757"/>
                    <a:pt x="17412" y="136697"/>
                  </a:cubicBezTo>
                  <a:cubicBezTo>
                    <a:pt x="50351" y="169637"/>
                    <a:pt x="103758" y="169637"/>
                    <a:pt x="136698" y="136697"/>
                  </a:cubicBezTo>
                  <a:cubicBezTo>
                    <a:pt x="169637" y="103757"/>
                    <a:pt x="169637" y="50351"/>
                    <a:pt x="136698" y="17411"/>
                  </a:cubicBezTo>
                  <a:close/>
                  <a:moveTo>
                    <a:pt x="154109" y="0"/>
                  </a:moveTo>
                  <a:cubicBezTo>
                    <a:pt x="196665" y="42556"/>
                    <a:pt x="196665" y="111552"/>
                    <a:pt x="154109" y="154108"/>
                  </a:cubicBezTo>
                  <a:cubicBezTo>
                    <a:pt x="139576" y="168641"/>
                    <a:pt x="121959" y="178211"/>
                    <a:pt x="102912" y="180994"/>
                  </a:cubicBezTo>
                  <a:lnTo>
                    <a:pt x="102912" y="308310"/>
                  </a:lnTo>
                  <a:lnTo>
                    <a:pt x="51197" y="308310"/>
                  </a:lnTo>
                  <a:lnTo>
                    <a:pt x="51197" y="180994"/>
                  </a:lnTo>
                  <a:cubicBezTo>
                    <a:pt x="32150" y="178211"/>
                    <a:pt x="14534" y="168641"/>
                    <a:pt x="0" y="154108"/>
                  </a:cubicBezTo>
                  <a:cubicBezTo>
                    <a:pt x="-42555" y="111552"/>
                    <a:pt x="-42555" y="42556"/>
                    <a:pt x="0" y="0"/>
                  </a:cubicBezTo>
                  <a:cubicBezTo>
                    <a:pt x="42556" y="-42556"/>
                    <a:pt x="111553" y="-42556"/>
                    <a:pt x="1541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1121804" y="3116247"/>
            <a:ext cx="4042061" cy="487566"/>
            <a:chOff x="2237993" y="4042701"/>
            <a:chExt cx="7924440" cy="955870"/>
          </a:xfrm>
        </p:grpSpPr>
        <p:sp>
          <p:nvSpPr>
            <p:cNvPr id="11" name="形状">
              <a:extLst>
                <a:ext uri="{FF2B5EF4-FFF2-40B4-BE49-F238E27FC236}">
                  <a16:creationId xmlns:a16="http://schemas.microsoft.com/office/drawing/2014/main" id="{F47AD865-09C0-465C-920B-8B5CBD771BA4}"/>
                </a:ext>
              </a:extLst>
            </p:cNvPr>
            <p:cNvSpPr/>
            <p:nvPr/>
          </p:nvSpPr>
          <p:spPr>
            <a:xfrm>
              <a:off x="2237993" y="4042701"/>
              <a:ext cx="7924440" cy="955870"/>
            </a:xfrm>
            <a:custGeom>
              <a:avLst/>
              <a:gdLst>
                <a:gd name="connsiteX0" fmla="*/ 0 w 8665700"/>
                <a:gd name="connsiteY0" fmla="*/ 477934 h 955870"/>
                <a:gd name="connsiteX1" fmla="*/ 0 w 8665700"/>
                <a:gd name="connsiteY1" fmla="*/ 477935 h 955870"/>
                <a:gd name="connsiteX2" fmla="*/ 0 w 8665700"/>
                <a:gd name="connsiteY2" fmla="*/ 477935 h 955870"/>
                <a:gd name="connsiteX3" fmla="*/ 484260 w 8665700"/>
                <a:gd name="connsiteY3" fmla="*/ 146075 h 955870"/>
                <a:gd name="connsiteX4" fmla="*/ 152401 w 8665700"/>
                <a:gd name="connsiteY4" fmla="*/ 477934 h 955870"/>
                <a:gd name="connsiteX5" fmla="*/ 484260 w 8665700"/>
                <a:gd name="connsiteY5" fmla="*/ 809793 h 955870"/>
                <a:gd name="connsiteX6" fmla="*/ 7417942 w 8665700"/>
                <a:gd name="connsiteY6" fmla="*/ 809793 h 955870"/>
                <a:gd name="connsiteX7" fmla="*/ 7749801 w 8665700"/>
                <a:gd name="connsiteY7" fmla="*/ 477934 h 955870"/>
                <a:gd name="connsiteX8" fmla="*/ 7417942 w 8665700"/>
                <a:gd name="connsiteY8" fmla="*/ 146075 h 955870"/>
                <a:gd name="connsiteX9" fmla="*/ 477935 w 8665700"/>
                <a:gd name="connsiteY9" fmla="*/ 0 h 955870"/>
                <a:gd name="connsiteX10" fmla="*/ 8187765 w 8665700"/>
                <a:gd name="connsiteY10" fmla="*/ 0 h 955870"/>
                <a:gd name="connsiteX11" fmla="*/ 8665700 w 8665700"/>
                <a:gd name="connsiteY11" fmla="*/ 477935 h 955870"/>
                <a:gd name="connsiteX12" fmla="*/ 8665699 w 8665700"/>
                <a:gd name="connsiteY12" fmla="*/ 477935 h 955870"/>
                <a:gd name="connsiteX13" fmla="*/ 8187764 w 8665700"/>
                <a:gd name="connsiteY13" fmla="*/ 955870 h 955870"/>
                <a:gd name="connsiteX14" fmla="*/ 477935 w 8665700"/>
                <a:gd name="connsiteY14" fmla="*/ 955869 h 955870"/>
                <a:gd name="connsiteX15" fmla="*/ 9710 w 8665700"/>
                <a:gd name="connsiteY15" fmla="*/ 574255 h 955870"/>
                <a:gd name="connsiteX16" fmla="*/ 0 w 8665700"/>
                <a:gd name="connsiteY16" fmla="*/ 477935 h 955870"/>
                <a:gd name="connsiteX17" fmla="*/ 9710 w 8665700"/>
                <a:gd name="connsiteY17" fmla="*/ 381615 h 955870"/>
                <a:gd name="connsiteX18" fmla="*/ 477935 w 8665700"/>
                <a:gd name="connsiteY18" fmla="*/ 0 h 95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665700" h="955870">
                  <a:moveTo>
                    <a:pt x="0" y="477934"/>
                  </a:moveTo>
                  <a:lnTo>
                    <a:pt x="0" y="477935"/>
                  </a:lnTo>
                  <a:lnTo>
                    <a:pt x="0" y="477935"/>
                  </a:lnTo>
                  <a:close/>
                  <a:moveTo>
                    <a:pt x="484260" y="146075"/>
                  </a:moveTo>
                  <a:cubicBezTo>
                    <a:pt x="300979" y="146075"/>
                    <a:pt x="152401" y="294653"/>
                    <a:pt x="152401" y="477934"/>
                  </a:cubicBezTo>
                  <a:cubicBezTo>
                    <a:pt x="152401" y="661215"/>
                    <a:pt x="300979" y="809793"/>
                    <a:pt x="484260" y="809793"/>
                  </a:cubicBezTo>
                  <a:lnTo>
                    <a:pt x="7417942" y="809793"/>
                  </a:lnTo>
                  <a:cubicBezTo>
                    <a:pt x="7601223" y="809793"/>
                    <a:pt x="7749801" y="661215"/>
                    <a:pt x="7749801" y="477934"/>
                  </a:cubicBezTo>
                  <a:cubicBezTo>
                    <a:pt x="7749801" y="294653"/>
                    <a:pt x="7601223" y="146075"/>
                    <a:pt x="7417942" y="146075"/>
                  </a:cubicBezTo>
                  <a:close/>
                  <a:moveTo>
                    <a:pt x="477935" y="0"/>
                  </a:moveTo>
                  <a:lnTo>
                    <a:pt x="8187765" y="0"/>
                  </a:lnTo>
                  <a:cubicBezTo>
                    <a:pt x="8451721" y="0"/>
                    <a:pt x="8665700" y="213979"/>
                    <a:pt x="8665700" y="477935"/>
                  </a:cubicBezTo>
                  <a:lnTo>
                    <a:pt x="8665699" y="477935"/>
                  </a:lnTo>
                  <a:cubicBezTo>
                    <a:pt x="8665699" y="741891"/>
                    <a:pt x="8451720" y="955870"/>
                    <a:pt x="8187764" y="955870"/>
                  </a:cubicBezTo>
                  <a:lnTo>
                    <a:pt x="477935" y="955869"/>
                  </a:lnTo>
                  <a:cubicBezTo>
                    <a:pt x="246974" y="955869"/>
                    <a:pt x="54276" y="792041"/>
                    <a:pt x="9710" y="574255"/>
                  </a:cubicBezTo>
                  <a:lnTo>
                    <a:pt x="0" y="477935"/>
                  </a:lnTo>
                  <a:lnTo>
                    <a:pt x="9710" y="381615"/>
                  </a:lnTo>
                  <a:cubicBezTo>
                    <a:pt x="54276" y="163828"/>
                    <a:pt x="246974" y="0"/>
                    <a:pt x="47793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44000">
                  <a:srgbClr val="00CDC4"/>
                </a:gs>
                <a:gs pos="100000">
                  <a:srgbClr val="5EBAE6">
                    <a:alpha val="31000"/>
                  </a:srgbClr>
                </a:gs>
              </a:gsLst>
              <a:lin ang="108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50800" dist="25400" dir="10800000" algn="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图标">
              <a:extLst>
                <a:ext uri="{FF2B5EF4-FFF2-40B4-BE49-F238E27FC236}">
                  <a16:creationId xmlns:a16="http://schemas.microsoft.com/office/drawing/2014/main" id="{0DCE396B-56CD-45D7-98D7-106617701172}"/>
                </a:ext>
              </a:extLst>
            </p:cNvPr>
            <p:cNvSpPr/>
            <p:nvPr/>
          </p:nvSpPr>
          <p:spPr>
            <a:xfrm rot="2700000">
              <a:off x="9502759" y="4271399"/>
              <a:ext cx="283417" cy="631394"/>
            </a:xfrm>
            <a:custGeom>
              <a:avLst/>
              <a:gdLst/>
              <a:ahLst/>
              <a:cxnLst/>
              <a:rect l="l" t="t" r="r" b="b"/>
              <a:pathLst>
                <a:path w="154109" h="343323">
                  <a:moveTo>
                    <a:pt x="102909" y="313772"/>
                  </a:moveTo>
                  <a:lnTo>
                    <a:pt x="102909" y="328547"/>
                  </a:lnTo>
                  <a:cubicBezTo>
                    <a:pt x="102909" y="336708"/>
                    <a:pt x="96294" y="343322"/>
                    <a:pt x="88133" y="343323"/>
                  </a:cubicBezTo>
                  <a:lnTo>
                    <a:pt x="65975" y="343322"/>
                  </a:lnTo>
                  <a:cubicBezTo>
                    <a:pt x="57814" y="343322"/>
                    <a:pt x="51199" y="336708"/>
                    <a:pt x="51199" y="328547"/>
                  </a:cubicBezTo>
                  <a:cubicBezTo>
                    <a:pt x="51199" y="323622"/>
                    <a:pt x="51200" y="318696"/>
                    <a:pt x="51200" y="313771"/>
                  </a:cubicBezTo>
                  <a:close/>
                  <a:moveTo>
                    <a:pt x="123327" y="15459"/>
                  </a:moveTo>
                  <a:cubicBezTo>
                    <a:pt x="141678" y="29245"/>
                    <a:pt x="152926" y="50497"/>
                    <a:pt x="154008" y="73425"/>
                  </a:cubicBezTo>
                  <a:cubicBezTo>
                    <a:pt x="155089" y="96353"/>
                    <a:pt x="145890" y="118568"/>
                    <a:pt x="128916" y="134021"/>
                  </a:cubicBezTo>
                  <a:lnTo>
                    <a:pt x="119294" y="123450"/>
                  </a:lnTo>
                  <a:cubicBezTo>
                    <a:pt x="133118" y="110865"/>
                    <a:pt x="140611" y="92772"/>
                    <a:pt x="139730" y="74098"/>
                  </a:cubicBezTo>
                  <a:cubicBezTo>
                    <a:pt x="138850" y="55424"/>
                    <a:pt x="129689" y="38115"/>
                    <a:pt x="114743" y="26887"/>
                  </a:cubicBezTo>
                  <a:close/>
                  <a:moveTo>
                    <a:pt x="136698" y="17411"/>
                  </a:moveTo>
                  <a:cubicBezTo>
                    <a:pt x="103758" y="-15529"/>
                    <a:pt x="50351" y="-15529"/>
                    <a:pt x="17412" y="17411"/>
                  </a:cubicBezTo>
                  <a:cubicBezTo>
                    <a:pt x="-15528" y="50351"/>
                    <a:pt x="-15528" y="103757"/>
                    <a:pt x="17412" y="136697"/>
                  </a:cubicBezTo>
                  <a:cubicBezTo>
                    <a:pt x="50351" y="169637"/>
                    <a:pt x="103758" y="169637"/>
                    <a:pt x="136698" y="136697"/>
                  </a:cubicBezTo>
                  <a:cubicBezTo>
                    <a:pt x="169637" y="103757"/>
                    <a:pt x="169637" y="50351"/>
                    <a:pt x="136698" y="17411"/>
                  </a:cubicBezTo>
                  <a:close/>
                  <a:moveTo>
                    <a:pt x="154109" y="0"/>
                  </a:moveTo>
                  <a:cubicBezTo>
                    <a:pt x="196665" y="42556"/>
                    <a:pt x="196665" y="111552"/>
                    <a:pt x="154109" y="154108"/>
                  </a:cubicBezTo>
                  <a:cubicBezTo>
                    <a:pt x="139576" y="168641"/>
                    <a:pt x="121959" y="178211"/>
                    <a:pt x="102912" y="180994"/>
                  </a:cubicBezTo>
                  <a:lnTo>
                    <a:pt x="102912" y="308310"/>
                  </a:lnTo>
                  <a:lnTo>
                    <a:pt x="51197" y="308310"/>
                  </a:lnTo>
                  <a:lnTo>
                    <a:pt x="51197" y="180994"/>
                  </a:lnTo>
                  <a:cubicBezTo>
                    <a:pt x="32150" y="178211"/>
                    <a:pt x="14534" y="168641"/>
                    <a:pt x="0" y="154108"/>
                  </a:cubicBezTo>
                  <a:cubicBezTo>
                    <a:pt x="-42555" y="111552"/>
                    <a:pt x="-42555" y="42556"/>
                    <a:pt x="0" y="0"/>
                  </a:cubicBezTo>
                  <a:cubicBezTo>
                    <a:pt x="42556" y="-42556"/>
                    <a:pt x="111553" y="-42556"/>
                    <a:pt x="1541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1121804" y="3991023"/>
            <a:ext cx="4042061" cy="487566"/>
            <a:chOff x="2237993" y="4042701"/>
            <a:chExt cx="7924440" cy="955870"/>
          </a:xfrm>
        </p:grpSpPr>
        <p:sp>
          <p:nvSpPr>
            <p:cNvPr id="14" name="形状">
              <a:extLst>
                <a:ext uri="{FF2B5EF4-FFF2-40B4-BE49-F238E27FC236}">
                  <a16:creationId xmlns:a16="http://schemas.microsoft.com/office/drawing/2014/main" id="{F47AD865-09C0-465C-920B-8B5CBD771BA4}"/>
                </a:ext>
              </a:extLst>
            </p:cNvPr>
            <p:cNvSpPr/>
            <p:nvPr/>
          </p:nvSpPr>
          <p:spPr>
            <a:xfrm>
              <a:off x="2237993" y="4042701"/>
              <a:ext cx="7924440" cy="955870"/>
            </a:xfrm>
            <a:custGeom>
              <a:avLst/>
              <a:gdLst>
                <a:gd name="connsiteX0" fmla="*/ 0 w 8665700"/>
                <a:gd name="connsiteY0" fmla="*/ 477934 h 955870"/>
                <a:gd name="connsiteX1" fmla="*/ 0 w 8665700"/>
                <a:gd name="connsiteY1" fmla="*/ 477935 h 955870"/>
                <a:gd name="connsiteX2" fmla="*/ 0 w 8665700"/>
                <a:gd name="connsiteY2" fmla="*/ 477935 h 955870"/>
                <a:gd name="connsiteX3" fmla="*/ 484260 w 8665700"/>
                <a:gd name="connsiteY3" fmla="*/ 146075 h 955870"/>
                <a:gd name="connsiteX4" fmla="*/ 152401 w 8665700"/>
                <a:gd name="connsiteY4" fmla="*/ 477934 h 955870"/>
                <a:gd name="connsiteX5" fmla="*/ 484260 w 8665700"/>
                <a:gd name="connsiteY5" fmla="*/ 809793 h 955870"/>
                <a:gd name="connsiteX6" fmla="*/ 7417942 w 8665700"/>
                <a:gd name="connsiteY6" fmla="*/ 809793 h 955870"/>
                <a:gd name="connsiteX7" fmla="*/ 7749801 w 8665700"/>
                <a:gd name="connsiteY7" fmla="*/ 477934 h 955870"/>
                <a:gd name="connsiteX8" fmla="*/ 7417942 w 8665700"/>
                <a:gd name="connsiteY8" fmla="*/ 146075 h 955870"/>
                <a:gd name="connsiteX9" fmla="*/ 477935 w 8665700"/>
                <a:gd name="connsiteY9" fmla="*/ 0 h 955870"/>
                <a:gd name="connsiteX10" fmla="*/ 8187765 w 8665700"/>
                <a:gd name="connsiteY10" fmla="*/ 0 h 955870"/>
                <a:gd name="connsiteX11" fmla="*/ 8665700 w 8665700"/>
                <a:gd name="connsiteY11" fmla="*/ 477935 h 955870"/>
                <a:gd name="connsiteX12" fmla="*/ 8665699 w 8665700"/>
                <a:gd name="connsiteY12" fmla="*/ 477935 h 955870"/>
                <a:gd name="connsiteX13" fmla="*/ 8187764 w 8665700"/>
                <a:gd name="connsiteY13" fmla="*/ 955870 h 955870"/>
                <a:gd name="connsiteX14" fmla="*/ 477935 w 8665700"/>
                <a:gd name="connsiteY14" fmla="*/ 955869 h 955870"/>
                <a:gd name="connsiteX15" fmla="*/ 9710 w 8665700"/>
                <a:gd name="connsiteY15" fmla="*/ 574255 h 955870"/>
                <a:gd name="connsiteX16" fmla="*/ 0 w 8665700"/>
                <a:gd name="connsiteY16" fmla="*/ 477935 h 955870"/>
                <a:gd name="connsiteX17" fmla="*/ 9710 w 8665700"/>
                <a:gd name="connsiteY17" fmla="*/ 381615 h 955870"/>
                <a:gd name="connsiteX18" fmla="*/ 477935 w 8665700"/>
                <a:gd name="connsiteY18" fmla="*/ 0 h 95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665700" h="955870">
                  <a:moveTo>
                    <a:pt x="0" y="477934"/>
                  </a:moveTo>
                  <a:lnTo>
                    <a:pt x="0" y="477935"/>
                  </a:lnTo>
                  <a:lnTo>
                    <a:pt x="0" y="477935"/>
                  </a:lnTo>
                  <a:close/>
                  <a:moveTo>
                    <a:pt x="484260" y="146075"/>
                  </a:moveTo>
                  <a:cubicBezTo>
                    <a:pt x="300979" y="146075"/>
                    <a:pt x="152401" y="294653"/>
                    <a:pt x="152401" y="477934"/>
                  </a:cubicBezTo>
                  <a:cubicBezTo>
                    <a:pt x="152401" y="661215"/>
                    <a:pt x="300979" y="809793"/>
                    <a:pt x="484260" y="809793"/>
                  </a:cubicBezTo>
                  <a:lnTo>
                    <a:pt x="7417942" y="809793"/>
                  </a:lnTo>
                  <a:cubicBezTo>
                    <a:pt x="7601223" y="809793"/>
                    <a:pt x="7749801" y="661215"/>
                    <a:pt x="7749801" y="477934"/>
                  </a:cubicBezTo>
                  <a:cubicBezTo>
                    <a:pt x="7749801" y="294653"/>
                    <a:pt x="7601223" y="146075"/>
                    <a:pt x="7417942" y="146075"/>
                  </a:cubicBezTo>
                  <a:close/>
                  <a:moveTo>
                    <a:pt x="477935" y="0"/>
                  </a:moveTo>
                  <a:lnTo>
                    <a:pt x="8187765" y="0"/>
                  </a:lnTo>
                  <a:cubicBezTo>
                    <a:pt x="8451721" y="0"/>
                    <a:pt x="8665700" y="213979"/>
                    <a:pt x="8665700" y="477935"/>
                  </a:cubicBezTo>
                  <a:lnTo>
                    <a:pt x="8665699" y="477935"/>
                  </a:lnTo>
                  <a:cubicBezTo>
                    <a:pt x="8665699" y="741891"/>
                    <a:pt x="8451720" y="955870"/>
                    <a:pt x="8187764" y="955870"/>
                  </a:cubicBezTo>
                  <a:lnTo>
                    <a:pt x="477935" y="955869"/>
                  </a:lnTo>
                  <a:cubicBezTo>
                    <a:pt x="246974" y="955869"/>
                    <a:pt x="54276" y="792041"/>
                    <a:pt x="9710" y="574255"/>
                  </a:cubicBezTo>
                  <a:lnTo>
                    <a:pt x="0" y="477935"/>
                  </a:lnTo>
                  <a:lnTo>
                    <a:pt x="9710" y="381615"/>
                  </a:lnTo>
                  <a:cubicBezTo>
                    <a:pt x="54276" y="163828"/>
                    <a:pt x="246974" y="0"/>
                    <a:pt x="47793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44000">
                  <a:srgbClr val="00CDC4"/>
                </a:gs>
                <a:gs pos="100000">
                  <a:srgbClr val="5EBAE6">
                    <a:alpha val="31000"/>
                  </a:srgbClr>
                </a:gs>
              </a:gsLst>
              <a:lin ang="108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50800" dist="25400" dir="10800000" algn="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图标">
              <a:extLst>
                <a:ext uri="{FF2B5EF4-FFF2-40B4-BE49-F238E27FC236}">
                  <a16:creationId xmlns:a16="http://schemas.microsoft.com/office/drawing/2014/main" id="{0DCE396B-56CD-45D7-98D7-106617701172}"/>
                </a:ext>
              </a:extLst>
            </p:cNvPr>
            <p:cNvSpPr/>
            <p:nvPr/>
          </p:nvSpPr>
          <p:spPr>
            <a:xfrm rot="2700000">
              <a:off x="9502759" y="4271399"/>
              <a:ext cx="283417" cy="631394"/>
            </a:xfrm>
            <a:custGeom>
              <a:avLst/>
              <a:gdLst/>
              <a:ahLst/>
              <a:cxnLst/>
              <a:rect l="l" t="t" r="r" b="b"/>
              <a:pathLst>
                <a:path w="154109" h="343323">
                  <a:moveTo>
                    <a:pt x="102909" y="313772"/>
                  </a:moveTo>
                  <a:lnTo>
                    <a:pt x="102909" y="328547"/>
                  </a:lnTo>
                  <a:cubicBezTo>
                    <a:pt x="102909" y="336708"/>
                    <a:pt x="96294" y="343322"/>
                    <a:pt x="88133" y="343323"/>
                  </a:cubicBezTo>
                  <a:lnTo>
                    <a:pt x="65975" y="343322"/>
                  </a:lnTo>
                  <a:cubicBezTo>
                    <a:pt x="57814" y="343322"/>
                    <a:pt x="51199" y="336708"/>
                    <a:pt x="51199" y="328547"/>
                  </a:cubicBezTo>
                  <a:cubicBezTo>
                    <a:pt x="51199" y="323622"/>
                    <a:pt x="51200" y="318696"/>
                    <a:pt x="51200" y="313771"/>
                  </a:cubicBezTo>
                  <a:close/>
                  <a:moveTo>
                    <a:pt x="123327" y="15459"/>
                  </a:moveTo>
                  <a:cubicBezTo>
                    <a:pt x="141678" y="29245"/>
                    <a:pt x="152926" y="50497"/>
                    <a:pt x="154008" y="73425"/>
                  </a:cubicBezTo>
                  <a:cubicBezTo>
                    <a:pt x="155089" y="96353"/>
                    <a:pt x="145890" y="118568"/>
                    <a:pt x="128916" y="134021"/>
                  </a:cubicBezTo>
                  <a:lnTo>
                    <a:pt x="119294" y="123450"/>
                  </a:lnTo>
                  <a:cubicBezTo>
                    <a:pt x="133118" y="110865"/>
                    <a:pt x="140611" y="92772"/>
                    <a:pt x="139730" y="74098"/>
                  </a:cubicBezTo>
                  <a:cubicBezTo>
                    <a:pt x="138850" y="55424"/>
                    <a:pt x="129689" y="38115"/>
                    <a:pt x="114743" y="26887"/>
                  </a:cubicBezTo>
                  <a:close/>
                  <a:moveTo>
                    <a:pt x="136698" y="17411"/>
                  </a:moveTo>
                  <a:cubicBezTo>
                    <a:pt x="103758" y="-15529"/>
                    <a:pt x="50351" y="-15529"/>
                    <a:pt x="17412" y="17411"/>
                  </a:cubicBezTo>
                  <a:cubicBezTo>
                    <a:pt x="-15528" y="50351"/>
                    <a:pt x="-15528" y="103757"/>
                    <a:pt x="17412" y="136697"/>
                  </a:cubicBezTo>
                  <a:cubicBezTo>
                    <a:pt x="50351" y="169637"/>
                    <a:pt x="103758" y="169637"/>
                    <a:pt x="136698" y="136697"/>
                  </a:cubicBezTo>
                  <a:cubicBezTo>
                    <a:pt x="169637" y="103757"/>
                    <a:pt x="169637" y="50351"/>
                    <a:pt x="136698" y="17411"/>
                  </a:cubicBezTo>
                  <a:close/>
                  <a:moveTo>
                    <a:pt x="154109" y="0"/>
                  </a:moveTo>
                  <a:cubicBezTo>
                    <a:pt x="196665" y="42556"/>
                    <a:pt x="196665" y="111552"/>
                    <a:pt x="154109" y="154108"/>
                  </a:cubicBezTo>
                  <a:cubicBezTo>
                    <a:pt x="139576" y="168641"/>
                    <a:pt x="121959" y="178211"/>
                    <a:pt x="102912" y="180994"/>
                  </a:cubicBezTo>
                  <a:lnTo>
                    <a:pt x="102912" y="308310"/>
                  </a:lnTo>
                  <a:lnTo>
                    <a:pt x="51197" y="308310"/>
                  </a:lnTo>
                  <a:lnTo>
                    <a:pt x="51197" y="180994"/>
                  </a:lnTo>
                  <a:cubicBezTo>
                    <a:pt x="32150" y="178211"/>
                    <a:pt x="14534" y="168641"/>
                    <a:pt x="0" y="154108"/>
                  </a:cubicBezTo>
                  <a:cubicBezTo>
                    <a:pt x="-42555" y="111552"/>
                    <a:pt x="-42555" y="42556"/>
                    <a:pt x="0" y="0"/>
                  </a:cubicBezTo>
                  <a:cubicBezTo>
                    <a:pt x="42556" y="-42556"/>
                    <a:pt x="111553" y="-42556"/>
                    <a:pt x="1541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1121804" y="4938951"/>
            <a:ext cx="4042061" cy="487566"/>
            <a:chOff x="2237993" y="4042701"/>
            <a:chExt cx="7924440" cy="955870"/>
          </a:xfrm>
        </p:grpSpPr>
        <p:sp>
          <p:nvSpPr>
            <p:cNvPr id="17" name="形状">
              <a:extLst>
                <a:ext uri="{FF2B5EF4-FFF2-40B4-BE49-F238E27FC236}">
                  <a16:creationId xmlns:a16="http://schemas.microsoft.com/office/drawing/2014/main" id="{F47AD865-09C0-465C-920B-8B5CBD771BA4}"/>
                </a:ext>
              </a:extLst>
            </p:cNvPr>
            <p:cNvSpPr/>
            <p:nvPr/>
          </p:nvSpPr>
          <p:spPr>
            <a:xfrm>
              <a:off x="2237993" y="4042701"/>
              <a:ext cx="7924440" cy="955870"/>
            </a:xfrm>
            <a:custGeom>
              <a:avLst/>
              <a:gdLst>
                <a:gd name="connsiteX0" fmla="*/ 0 w 8665700"/>
                <a:gd name="connsiteY0" fmla="*/ 477934 h 955870"/>
                <a:gd name="connsiteX1" fmla="*/ 0 w 8665700"/>
                <a:gd name="connsiteY1" fmla="*/ 477935 h 955870"/>
                <a:gd name="connsiteX2" fmla="*/ 0 w 8665700"/>
                <a:gd name="connsiteY2" fmla="*/ 477935 h 955870"/>
                <a:gd name="connsiteX3" fmla="*/ 484260 w 8665700"/>
                <a:gd name="connsiteY3" fmla="*/ 146075 h 955870"/>
                <a:gd name="connsiteX4" fmla="*/ 152401 w 8665700"/>
                <a:gd name="connsiteY4" fmla="*/ 477934 h 955870"/>
                <a:gd name="connsiteX5" fmla="*/ 484260 w 8665700"/>
                <a:gd name="connsiteY5" fmla="*/ 809793 h 955870"/>
                <a:gd name="connsiteX6" fmla="*/ 7417942 w 8665700"/>
                <a:gd name="connsiteY6" fmla="*/ 809793 h 955870"/>
                <a:gd name="connsiteX7" fmla="*/ 7749801 w 8665700"/>
                <a:gd name="connsiteY7" fmla="*/ 477934 h 955870"/>
                <a:gd name="connsiteX8" fmla="*/ 7417942 w 8665700"/>
                <a:gd name="connsiteY8" fmla="*/ 146075 h 955870"/>
                <a:gd name="connsiteX9" fmla="*/ 477935 w 8665700"/>
                <a:gd name="connsiteY9" fmla="*/ 0 h 955870"/>
                <a:gd name="connsiteX10" fmla="*/ 8187765 w 8665700"/>
                <a:gd name="connsiteY10" fmla="*/ 0 h 955870"/>
                <a:gd name="connsiteX11" fmla="*/ 8665700 w 8665700"/>
                <a:gd name="connsiteY11" fmla="*/ 477935 h 955870"/>
                <a:gd name="connsiteX12" fmla="*/ 8665699 w 8665700"/>
                <a:gd name="connsiteY12" fmla="*/ 477935 h 955870"/>
                <a:gd name="connsiteX13" fmla="*/ 8187764 w 8665700"/>
                <a:gd name="connsiteY13" fmla="*/ 955870 h 955870"/>
                <a:gd name="connsiteX14" fmla="*/ 477935 w 8665700"/>
                <a:gd name="connsiteY14" fmla="*/ 955869 h 955870"/>
                <a:gd name="connsiteX15" fmla="*/ 9710 w 8665700"/>
                <a:gd name="connsiteY15" fmla="*/ 574255 h 955870"/>
                <a:gd name="connsiteX16" fmla="*/ 0 w 8665700"/>
                <a:gd name="connsiteY16" fmla="*/ 477935 h 955870"/>
                <a:gd name="connsiteX17" fmla="*/ 9710 w 8665700"/>
                <a:gd name="connsiteY17" fmla="*/ 381615 h 955870"/>
                <a:gd name="connsiteX18" fmla="*/ 477935 w 8665700"/>
                <a:gd name="connsiteY18" fmla="*/ 0 h 95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665700" h="955870">
                  <a:moveTo>
                    <a:pt x="0" y="477934"/>
                  </a:moveTo>
                  <a:lnTo>
                    <a:pt x="0" y="477935"/>
                  </a:lnTo>
                  <a:lnTo>
                    <a:pt x="0" y="477935"/>
                  </a:lnTo>
                  <a:close/>
                  <a:moveTo>
                    <a:pt x="484260" y="146075"/>
                  </a:moveTo>
                  <a:cubicBezTo>
                    <a:pt x="300979" y="146075"/>
                    <a:pt x="152401" y="294653"/>
                    <a:pt x="152401" y="477934"/>
                  </a:cubicBezTo>
                  <a:cubicBezTo>
                    <a:pt x="152401" y="661215"/>
                    <a:pt x="300979" y="809793"/>
                    <a:pt x="484260" y="809793"/>
                  </a:cubicBezTo>
                  <a:lnTo>
                    <a:pt x="7417942" y="809793"/>
                  </a:lnTo>
                  <a:cubicBezTo>
                    <a:pt x="7601223" y="809793"/>
                    <a:pt x="7749801" y="661215"/>
                    <a:pt x="7749801" y="477934"/>
                  </a:cubicBezTo>
                  <a:cubicBezTo>
                    <a:pt x="7749801" y="294653"/>
                    <a:pt x="7601223" y="146075"/>
                    <a:pt x="7417942" y="146075"/>
                  </a:cubicBezTo>
                  <a:close/>
                  <a:moveTo>
                    <a:pt x="477935" y="0"/>
                  </a:moveTo>
                  <a:lnTo>
                    <a:pt x="8187765" y="0"/>
                  </a:lnTo>
                  <a:cubicBezTo>
                    <a:pt x="8451721" y="0"/>
                    <a:pt x="8665700" y="213979"/>
                    <a:pt x="8665700" y="477935"/>
                  </a:cubicBezTo>
                  <a:lnTo>
                    <a:pt x="8665699" y="477935"/>
                  </a:lnTo>
                  <a:cubicBezTo>
                    <a:pt x="8665699" y="741891"/>
                    <a:pt x="8451720" y="955870"/>
                    <a:pt x="8187764" y="955870"/>
                  </a:cubicBezTo>
                  <a:lnTo>
                    <a:pt x="477935" y="955869"/>
                  </a:lnTo>
                  <a:cubicBezTo>
                    <a:pt x="246974" y="955869"/>
                    <a:pt x="54276" y="792041"/>
                    <a:pt x="9710" y="574255"/>
                  </a:cubicBezTo>
                  <a:lnTo>
                    <a:pt x="0" y="477935"/>
                  </a:lnTo>
                  <a:lnTo>
                    <a:pt x="9710" y="381615"/>
                  </a:lnTo>
                  <a:cubicBezTo>
                    <a:pt x="54276" y="163828"/>
                    <a:pt x="246974" y="0"/>
                    <a:pt x="47793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44000">
                  <a:srgbClr val="00CDC4"/>
                </a:gs>
                <a:gs pos="100000">
                  <a:srgbClr val="5EBAE6">
                    <a:alpha val="31000"/>
                  </a:srgbClr>
                </a:gs>
              </a:gsLst>
              <a:lin ang="10800000" scaled="1"/>
              <a:tileRect/>
            </a:gradFill>
            <a:ln w="6350">
              <a:solidFill>
                <a:schemeClr val="bg1"/>
              </a:solidFill>
            </a:ln>
            <a:effectLst>
              <a:outerShdw blurRad="50800" dist="25400" dir="10800000" algn="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图标">
              <a:extLst>
                <a:ext uri="{FF2B5EF4-FFF2-40B4-BE49-F238E27FC236}">
                  <a16:creationId xmlns:a16="http://schemas.microsoft.com/office/drawing/2014/main" id="{0DCE396B-56CD-45D7-98D7-106617701172}"/>
                </a:ext>
              </a:extLst>
            </p:cNvPr>
            <p:cNvSpPr/>
            <p:nvPr/>
          </p:nvSpPr>
          <p:spPr>
            <a:xfrm rot="2700000">
              <a:off x="9502759" y="4271399"/>
              <a:ext cx="283417" cy="631394"/>
            </a:xfrm>
            <a:custGeom>
              <a:avLst/>
              <a:gdLst/>
              <a:ahLst/>
              <a:cxnLst/>
              <a:rect l="l" t="t" r="r" b="b"/>
              <a:pathLst>
                <a:path w="154109" h="343323">
                  <a:moveTo>
                    <a:pt x="102909" y="313772"/>
                  </a:moveTo>
                  <a:lnTo>
                    <a:pt x="102909" y="328547"/>
                  </a:lnTo>
                  <a:cubicBezTo>
                    <a:pt x="102909" y="336708"/>
                    <a:pt x="96294" y="343322"/>
                    <a:pt x="88133" y="343323"/>
                  </a:cubicBezTo>
                  <a:lnTo>
                    <a:pt x="65975" y="343322"/>
                  </a:lnTo>
                  <a:cubicBezTo>
                    <a:pt x="57814" y="343322"/>
                    <a:pt x="51199" y="336708"/>
                    <a:pt x="51199" y="328547"/>
                  </a:cubicBezTo>
                  <a:cubicBezTo>
                    <a:pt x="51199" y="323622"/>
                    <a:pt x="51200" y="318696"/>
                    <a:pt x="51200" y="313771"/>
                  </a:cubicBezTo>
                  <a:close/>
                  <a:moveTo>
                    <a:pt x="123327" y="15459"/>
                  </a:moveTo>
                  <a:cubicBezTo>
                    <a:pt x="141678" y="29245"/>
                    <a:pt x="152926" y="50497"/>
                    <a:pt x="154008" y="73425"/>
                  </a:cubicBezTo>
                  <a:cubicBezTo>
                    <a:pt x="155089" y="96353"/>
                    <a:pt x="145890" y="118568"/>
                    <a:pt x="128916" y="134021"/>
                  </a:cubicBezTo>
                  <a:lnTo>
                    <a:pt x="119294" y="123450"/>
                  </a:lnTo>
                  <a:cubicBezTo>
                    <a:pt x="133118" y="110865"/>
                    <a:pt x="140611" y="92772"/>
                    <a:pt x="139730" y="74098"/>
                  </a:cubicBezTo>
                  <a:cubicBezTo>
                    <a:pt x="138850" y="55424"/>
                    <a:pt x="129689" y="38115"/>
                    <a:pt x="114743" y="26887"/>
                  </a:cubicBezTo>
                  <a:close/>
                  <a:moveTo>
                    <a:pt x="136698" y="17411"/>
                  </a:moveTo>
                  <a:cubicBezTo>
                    <a:pt x="103758" y="-15529"/>
                    <a:pt x="50351" y="-15529"/>
                    <a:pt x="17412" y="17411"/>
                  </a:cubicBezTo>
                  <a:cubicBezTo>
                    <a:pt x="-15528" y="50351"/>
                    <a:pt x="-15528" y="103757"/>
                    <a:pt x="17412" y="136697"/>
                  </a:cubicBezTo>
                  <a:cubicBezTo>
                    <a:pt x="50351" y="169637"/>
                    <a:pt x="103758" y="169637"/>
                    <a:pt x="136698" y="136697"/>
                  </a:cubicBezTo>
                  <a:cubicBezTo>
                    <a:pt x="169637" y="103757"/>
                    <a:pt x="169637" y="50351"/>
                    <a:pt x="136698" y="17411"/>
                  </a:cubicBezTo>
                  <a:close/>
                  <a:moveTo>
                    <a:pt x="154109" y="0"/>
                  </a:moveTo>
                  <a:cubicBezTo>
                    <a:pt x="196665" y="42556"/>
                    <a:pt x="196665" y="111552"/>
                    <a:pt x="154109" y="154108"/>
                  </a:cubicBezTo>
                  <a:cubicBezTo>
                    <a:pt x="139576" y="168641"/>
                    <a:pt x="121959" y="178211"/>
                    <a:pt x="102912" y="180994"/>
                  </a:cubicBezTo>
                  <a:lnTo>
                    <a:pt x="102912" y="308310"/>
                  </a:lnTo>
                  <a:lnTo>
                    <a:pt x="51197" y="308310"/>
                  </a:lnTo>
                  <a:lnTo>
                    <a:pt x="51197" y="180994"/>
                  </a:lnTo>
                  <a:cubicBezTo>
                    <a:pt x="32150" y="178211"/>
                    <a:pt x="14534" y="168641"/>
                    <a:pt x="0" y="154108"/>
                  </a:cubicBezTo>
                  <a:cubicBezTo>
                    <a:pt x="-42555" y="111552"/>
                    <a:pt x="-42555" y="42556"/>
                    <a:pt x="0" y="0"/>
                  </a:cubicBezTo>
                  <a:cubicBezTo>
                    <a:pt x="42556" y="-42556"/>
                    <a:pt x="111553" y="-42556"/>
                    <a:pt x="1541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2067265" y="2311346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题的背景与意义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2182680" y="3175364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方法及过程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2067265" y="4073985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成果展示及应用</a:t>
            </a:r>
          </a:p>
        </p:txBody>
      </p:sp>
      <p:sp>
        <p:nvSpPr>
          <p:cNvPr id="22" name="矩形 21"/>
          <p:cNvSpPr/>
          <p:nvPr/>
        </p:nvSpPr>
        <p:spPr>
          <a:xfrm>
            <a:off x="2528928" y="5007878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文总结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7402979" y="2941083"/>
            <a:ext cx="23408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6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194157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 flipH="1">
            <a:off x="0" y="0"/>
            <a:ext cx="10281140" cy="633100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7193787" y="3133247"/>
            <a:ext cx="42883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题的背景与意义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980A22-7E37-4178-B442-276318BF5894}"/>
              </a:ext>
            </a:extLst>
          </p:cNvPr>
          <p:cNvSpPr/>
          <p:nvPr/>
        </p:nvSpPr>
        <p:spPr>
          <a:xfrm>
            <a:off x="7445459" y="3867481"/>
            <a:ext cx="37850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ackground and significance of the topic </a:t>
            </a:r>
            <a:endParaRPr lang="zh-CN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46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753254" y="590123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选题的背景与意义</a:t>
              </a:r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84D207A7-C91A-4CA9-84F5-81C9D67D72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991" y="2386834"/>
            <a:ext cx="3551707" cy="2379644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8B6977C6-8ACD-47FC-A247-55C4990EDE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933" y="2390210"/>
            <a:ext cx="3551707" cy="237076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60A2B5FC-DBF6-4EE0-9403-420803C33E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99" y="2383255"/>
            <a:ext cx="3551708" cy="2317489"/>
          </a:xfrm>
          <a:prstGeom prst="rect">
            <a:avLst/>
          </a:prstGeom>
        </p:spPr>
      </p:pic>
      <p:sp>
        <p:nvSpPr>
          <p:cNvPr id="13" name="Rectangle 36">
            <a:extLst>
              <a:ext uri="{FF2B5EF4-FFF2-40B4-BE49-F238E27FC236}">
                <a16:creationId xmlns:a16="http://schemas.microsoft.com/office/drawing/2014/main" id="{A083916E-F612-4822-8736-017F9AECEF93}"/>
              </a:ext>
            </a:extLst>
          </p:cNvPr>
          <p:cNvSpPr/>
          <p:nvPr/>
        </p:nvSpPr>
        <p:spPr bwMode="auto">
          <a:xfrm>
            <a:off x="666299" y="1399578"/>
            <a:ext cx="3551708" cy="990633"/>
          </a:xfrm>
          <a:prstGeom prst="rect">
            <a:avLst/>
          </a:prstGeom>
          <a:solidFill>
            <a:srgbClr val="00817D"/>
          </a:solidFill>
        </p:spPr>
        <p:txBody>
          <a:bodyPr wrap="square" lIns="91377" tIns="45690" rIns="91377" anchor="ctr">
            <a:noAutofit/>
          </a:bodyPr>
          <a:lstStyle/>
          <a:p>
            <a:pPr algn="ctr" defTabSz="914016"/>
            <a:endParaRPr lang="en-US" sz="2400" dirty="0">
              <a:solidFill>
                <a:schemeClr val="bg1"/>
              </a:solidFill>
              <a:latin typeface="Nesobrite Cd" panose="02000506030000020003" pitchFamily="2" charset="0"/>
              <a:cs typeface="Segoe UI Semilight" panose="020B0402040204020203" pitchFamily="34" charset="0"/>
            </a:endParaRPr>
          </a:p>
        </p:txBody>
      </p:sp>
      <p:sp>
        <p:nvSpPr>
          <p:cNvPr id="14" name="Rectangle 37">
            <a:extLst>
              <a:ext uri="{FF2B5EF4-FFF2-40B4-BE49-F238E27FC236}">
                <a16:creationId xmlns:a16="http://schemas.microsoft.com/office/drawing/2014/main" id="{E9D9663A-ED0F-433E-A40D-D15A2F8EDF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66299" y="4295143"/>
            <a:ext cx="3551708" cy="15687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D266C93-EB31-4AD8-89EC-EC76ECEEDC4A}"/>
              </a:ext>
            </a:extLst>
          </p:cNvPr>
          <p:cNvSpPr/>
          <p:nvPr/>
        </p:nvSpPr>
        <p:spPr>
          <a:xfrm>
            <a:off x="3775670" y="1404319"/>
            <a:ext cx="41304" cy="29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1B0F4F1-212D-4EE3-B1A9-4B0271F1376F}"/>
              </a:ext>
            </a:extLst>
          </p:cNvPr>
          <p:cNvSpPr/>
          <p:nvPr/>
        </p:nvSpPr>
        <p:spPr>
          <a:xfrm>
            <a:off x="3829299" y="1404319"/>
            <a:ext cx="41304" cy="390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53D0240-1A36-41BE-8907-4433E956845D}"/>
              </a:ext>
            </a:extLst>
          </p:cNvPr>
          <p:cNvSpPr txBox="1"/>
          <p:nvPr/>
        </p:nvSpPr>
        <p:spPr>
          <a:xfrm>
            <a:off x="1213107" y="1646090"/>
            <a:ext cx="390795" cy="528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chemeClr val="bg1"/>
                </a:solidFill>
              </a:rPr>
              <a:t>1</a:t>
            </a:r>
            <a:endParaRPr lang="zh-CN" altLang="en-US" sz="3600" dirty="0">
              <a:solidFill>
                <a:schemeClr val="bg1"/>
              </a:solidFill>
            </a:endParaRPr>
          </a:p>
        </p:txBody>
      </p:sp>
      <p:sp>
        <p:nvSpPr>
          <p:cNvPr id="18" name="弧形 17">
            <a:extLst>
              <a:ext uri="{FF2B5EF4-FFF2-40B4-BE49-F238E27FC236}">
                <a16:creationId xmlns:a16="http://schemas.microsoft.com/office/drawing/2014/main" id="{1F815D1C-7C39-400B-BD33-602559E91D03}"/>
              </a:ext>
            </a:extLst>
          </p:cNvPr>
          <p:cNvSpPr/>
          <p:nvPr/>
        </p:nvSpPr>
        <p:spPr>
          <a:xfrm flipH="1">
            <a:off x="1123035" y="1703498"/>
            <a:ext cx="436380" cy="436380"/>
          </a:xfrm>
          <a:prstGeom prst="arc">
            <a:avLst>
              <a:gd name="adj1" fmla="val 17557757"/>
              <a:gd name="adj2" fmla="val 10635694"/>
            </a:avLst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53B32B96-84E0-411C-8A98-4B13E1A1AE98}"/>
              </a:ext>
            </a:extLst>
          </p:cNvPr>
          <p:cNvSpPr/>
          <p:nvPr/>
        </p:nvSpPr>
        <p:spPr>
          <a:xfrm>
            <a:off x="763226" y="4551221"/>
            <a:ext cx="33578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Lorem ipsum dolor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consectetue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adipiscing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elit</a:t>
            </a:r>
            <a:r>
              <a:rPr lang="en-US" altLang="zh-CN" sz="1200" dirty="0">
                <a:solidFill>
                  <a:schemeClr val="bg1"/>
                </a:solidFill>
              </a:rPr>
              <a:t>. Maecenas </a:t>
            </a:r>
            <a:r>
              <a:rPr lang="en-US" altLang="zh-CN" sz="1200" dirty="0" err="1">
                <a:solidFill>
                  <a:schemeClr val="bg1"/>
                </a:solidFill>
              </a:rPr>
              <a:t>porttito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ngu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ssa</a:t>
            </a:r>
            <a:r>
              <a:rPr lang="en-US" altLang="zh-CN" sz="1200" dirty="0">
                <a:solidFill>
                  <a:schemeClr val="bg1"/>
                </a:solidFill>
              </a:rPr>
              <a:t>. </a:t>
            </a:r>
            <a:r>
              <a:rPr lang="en-US" altLang="zh-CN" sz="1200" dirty="0" err="1">
                <a:solidFill>
                  <a:schemeClr val="bg1"/>
                </a:solidFill>
              </a:rPr>
              <a:t>Fusc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posuere</a:t>
            </a:r>
            <a:r>
              <a:rPr lang="en-US" altLang="zh-CN" sz="1200" dirty="0">
                <a:solidFill>
                  <a:schemeClr val="bg1"/>
                </a:solidFill>
              </a:rPr>
              <a:t>, magna sed pulvinar </a:t>
            </a:r>
            <a:r>
              <a:rPr lang="en-US" altLang="zh-CN" sz="1200" dirty="0" err="1">
                <a:solidFill>
                  <a:schemeClr val="bg1"/>
                </a:solidFill>
              </a:rPr>
              <a:t>ultricies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pur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lect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lesuada</a:t>
            </a:r>
            <a:r>
              <a:rPr lang="en-US" altLang="zh-CN" sz="1200" dirty="0">
                <a:solidFill>
                  <a:schemeClr val="bg1"/>
                </a:solidFill>
              </a:rPr>
              <a:t> libero,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mmodo</a:t>
            </a:r>
            <a:r>
              <a:rPr lang="en-US" altLang="zh-CN" sz="1200" dirty="0">
                <a:solidFill>
                  <a:schemeClr val="bg1"/>
                </a:solidFill>
              </a:rPr>
              <a:t> magna </a:t>
            </a:r>
            <a:r>
              <a:rPr lang="en-US" altLang="zh-CN" sz="1200" dirty="0" err="1">
                <a:solidFill>
                  <a:schemeClr val="bg1"/>
                </a:solidFill>
              </a:rPr>
              <a:t>ero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qui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urna</a:t>
            </a:r>
            <a:r>
              <a:rPr lang="en-US" altLang="zh-CN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9E80F13-99AA-48EB-A660-5C80CEAA30E6}"/>
              </a:ext>
            </a:extLst>
          </p:cNvPr>
          <p:cNvSpPr/>
          <p:nvPr/>
        </p:nvSpPr>
        <p:spPr>
          <a:xfrm>
            <a:off x="1637790" y="1757157"/>
            <a:ext cx="18515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 smtClean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选题的背景与意义</a:t>
            </a:r>
            <a:endParaRPr lang="en-US" altLang="zh-CN" sz="1600" b="1" kern="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1" name="Rectangle 36">
            <a:extLst>
              <a:ext uri="{FF2B5EF4-FFF2-40B4-BE49-F238E27FC236}">
                <a16:creationId xmlns:a16="http://schemas.microsoft.com/office/drawing/2014/main" id="{59282A0B-18EF-4DA0-AFB5-57932C5FB5A7}"/>
              </a:ext>
            </a:extLst>
          </p:cNvPr>
          <p:cNvSpPr/>
          <p:nvPr/>
        </p:nvSpPr>
        <p:spPr bwMode="auto">
          <a:xfrm>
            <a:off x="4320146" y="1399578"/>
            <a:ext cx="3551708" cy="990633"/>
          </a:xfrm>
          <a:prstGeom prst="rect">
            <a:avLst/>
          </a:prstGeom>
          <a:solidFill>
            <a:srgbClr val="85BBC3"/>
          </a:solidFill>
        </p:spPr>
        <p:txBody>
          <a:bodyPr wrap="square" lIns="91377" tIns="45690" rIns="91377" anchor="ctr">
            <a:noAutofit/>
          </a:bodyPr>
          <a:lstStyle/>
          <a:p>
            <a:pPr algn="ctr" defTabSz="914016"/>
            <a:endParaRPr lang="en-US" sz="2400" dirty="0">
              <a:solidFill>
                <a:schemeClr val="bg1"/>
              </a:solidFill>
              <a:latin typeface="Nesobrite Cd" panose="02000506030000020003" pitchFamily="2" charset="0"/>
              <a:cs typeface="Segoe UI Semilight" panose="020B0402040204020203" pitchFamily="34" charset="0"/>
            </a:endParaRPr>
          </a:p>
        </p:txBody>
      </p:sp>
      <p:sp>
        <p:nvSpPr>
          <p:cNvPr id="22" name="Rectangle 37">
            <a:extLst>
              <a:ext uri="{FF2B5EF4-FFF2-40B4-BE49-F238E27FC236}">
                <a16:creationId xmlns:a16="http://schemas.microsoft.com/office/drawing/2014/main" id="{DD46898B-1958-40D4-8F9B-3D7D8A9EB7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320146" y="4295143"/>
            <a:ext cx="3551708" cy="15687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E88E438-7850-4C7C-947E-7A0181C9929C}"/>
              </a:ext>
            </a:extLst>
          </p:cNvPr>
          <p:cNvSpPr/>
          <p:nvPr/>
        </p:nvSpPr>
        <p:spPr>
          <a:xfrm>
            <a:off x="7429517" y="1404319"/>
            <a:ext cx="41304" cy="29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72042296-7DB5-4189-B561-FF6ED345F320}"/>
              </a:ext>
            </a:extLst>
          </p:cNvPr>
          <p:cNvSpPr/>
          <p:nvPr/>
        </p:nvSpPr>
        <p:spPr>
          <a:xfrm>
            <a:off x="7483146" y="1404319"/>
            <a:ext cx="41304" cy="390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E926EF70-7100-49E1-9EB5-90CD8C46A117}"/>
              </a:ext>
            </a:extLst>
          </p:cNvPr>
          <p:cNvSpPr txBox="1"/>
          <p:nvPr/>
        </p:nvSpPr>
        <p:spPr>
          <a:xfrm>
            <a:off x="4866953" y="1646090"/>
            <a:ext cx="390795" cy="528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chemeClr val="bg1"/>
                </a:solidFill>
              </a:rPr>
              <a:t>2</a:t>
            </a:r>
            <a:endParaRPr lang="zh-CN" altLang="en-US" sz="3600" dirty="0">
              <a:solidFill>
                <a:schemeClr val="bg1"/>
              </a:solidFill>
            </a:endParaRPr>
          </a:p>
        </p:txBody>
      </p:sp>
      <p:sp>
        <p:nvSpPr>
          <p:cNvPr id="28" name="弧形 27">
            <a:extLst>
              <a:ext uri="{FF2B5EF4-FFF2-40B4-BE49-F238E27FC236}">
                <a16:creationId xmlns:a16="http://schemas.microsoft.com/office/drawing/2014/main" id="{4DC277B7-9B65-4519-9145-9407C6889416}"/>
              </a:ext>
            </a:extLst>
          </p:cNvPr>
          <p:cNvSpPr/>
          <p:nvPr/>
        </p:nvSpPr>
        <p:spPr>
          <a:xfrm flipH="1">
            <a:off x="4776881" y="1703498"/>
            <a:ext cx="436380" cy="436380"/>
          </a:xfrm>
          <a:prstGeom prst="arc">
            <a:avLst>
              <a:gd name="adj1" fmla="val 17557757"/>
              <a:gd name="adj2" fmla="val 10635694"/>
            </a:avLst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8D852843-AB23-41A0-A85D-326FE74B25F5}"/>
              </a:ext>
            </a:extLst>
          </p:cNvPr>
          <p:cNvSpPr/>
          <p:nvPr/>
        </p:nvSpPr>
        <p:spPr>
          <a:xfrm>
            <a:off x="4417073" y="4551221"/>
            <a:ext cx="33578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Lorem ipsum dolor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consectetue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adipiscing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elit</a:t>
            </a:r>
            <a:r>
              <a:rPr lang="en-US" altLang="zh-CN" sz="1200" dirty="0">
                <a:solidFill>
                  <a:schemeClr val="bg1"/>
                </a:solidFill>
              </a:rPr>
              <a:t>. Maecenas </a:t>
            </a:r>
            <a:r>
              <a:rPr lang="en-US" altLang="zh-CN" sz="1200" dirty="0" err="1">
                <a:solidFill>
                  <a:schemeClr val="bg1"/>
                </a:solidFill>
              </a:rPr>
              <a:t>porttito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ngu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ssa</a:t>
            </a:r>
            <a:r>
              <a:rPr lang="en-US" altLang="zh-CN" sz="1200" dirty="0">
                <a:solidFill>
                  <a:schemeClr val="bg1"/>
                </a:solidFill>
              </a:rPr>
              <a:t>. </a:t>
            </a:r>
            <a:r>
              <a:rPr lang="en-US" altLang="zh-CN" sz="1200" dirty="0" err="1">
                <a:solidFill>
                  <a:schemeClr val="bg1"/>
                </a:solidFill>
              </a:rPr>
              <a:t>Fusc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posuere</a:t>
            </a:r>
            <a:r>
              <a:rPr lang="en-US" altLang="zh-CN" sz="1200" dirty="0">
                <a:solidFill>
                  <a:schemeClr val="bg1"/>
                </a:solidFill>
              </a:rPr>
              <a:t>, magna sed pulvinar </a:t>
            </a:r>
            <a:r>
              <a:rPr lang="en-US" altLang="zh-CN" sz="1200" dirty="0" err="1">
                <a:solidFill>
                  <a:schemeClr val="bg1"/>
                </a:solidFill>
              </a:rPr>
              <a:t>ultricies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pur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lect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lesuada</a:t>
            </a:r>
            <a:r>
              <a:rPr lang="en-US" altLang="zh-CN" sz="1200" dirty="0">
                <a:solidFill>
                  <a:schemeClr val="bg1"/>
                </a:solidFill>
              </a:rPr>
              <a:t> libero,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mmodo</a:t>
            </a:r>
            <a:r>
              <a:rPr lang="en-US" altLang="zh-CN" sz="1200" dirty="0">
                <a:solidFill>
                  <a:schemeClr val="bg1"/>
                </a:solidFill>
              </a:rPr>
              <a:t> magna </a:t>
            </a:r>
            <a:r>
              <a:rPr lang="en-US" altLang="zh-CN" sz="1200" dirty="0" err="1">
                <a:solidFill>
                  <a:schemeClr val="bg1"/>
                </a:solidFill>
              </a:rPr>
              <a:t>ero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qui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urna</a:t>
            </a:r>
            <a:r>
              <a:rPr lang="en-US" altLang="zh-CN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3E88D45E-C0F1-48CD-9197-033D2DCA5D06}"/>
              </a:ext>
            </a:extLst>
          </p:cNvPr>
          <p:cNvSpPr/>
          <p:nvPr/>
        </p:nvSpPr>
        <p:spPr>
          <a:xfrm>
            <a:off x="5291636" y="1757157"/>
            <a:ext cx="18515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选题的背景与意义</a:t>
            </a:r>
            <a:endParaRPr lang="en-US" altLang="zh-CN" sz="1600" b="1" kern="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31" name="Rectangle 36">
            <a:extLst>
              <a:ext uri="{FF2B5EF4-FFF2-40B4-BE49-F238E27FC236}">
                <a16:creationId xmlns:a16="http://schemas.microsoft.com/office/drawing/2014/main" id="{9BBCDDC7-2DDD-4871-8D43-69632F9B0EB9}"/>
              </a:ext>
            </a:extLst>
          </p:cNvPr>
          <p:cNvSpPr/>
          <p:nvPr/>
        </p:nvSpPr>
        <p:spPr bwMode="auto">
          <a:xfrm>
            <a:off x="7973992" y="1399578"/>
            <a:ext cx="3551708" cy="990633"/>
          </a:xfrm>
          <a:prstGeom prst="rect">
            <a:avLst/>
          </a:prstGeom>
          <a:solidFill>
            <a:srgbClr val="00817D"/>
          </a:solidFill>
        </p:spPr>
        <p:txBody>
          <a:bodyPr wrap="square" lIns="91377" tIns="45690" rIns="91377" anchor="ctr">
            <a:noAutofit/>
          </a:bodyPr>
          <a:lstStyle/>
          <a:p>
            <a:pPr algn="ctr" defTabSz="914016"/>
            <a:endParaRPr lang="en-US" sz="2400" dirty="0">
              <a:solidFill>
                <a:schemeClr val="bg1"/>
              </a:solidFill>
              <a:latin typeface="Nesobrite Cd" panose="02000506030000020003" pitchFamily="2" charset="0"/>
              <a:cs typeface="Segoe UI Semilight" panose="020B0402040204020203" pitchFamily="34" charset="0"/>
            </a:endParaRPr>
          </a:p>
        </p:txBody>
      </p:sp>
      <p:sp>
        <p:nvSpPr>
          <p:cNvPr id="32" name="Rectangle 37">
            <a:extLst>
              <a:ext uri="{FF2B5EF4-FFF2-40B4-BE49-F238E27FC236}">
                <a16:creationId xmlns:a16="http://schemas.microsoft.com/office/drawing/2014/main" id="{EC1CDEB9-DC90-4D69-9A92-FF448C0835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73992" y="4295143"/>
            <a:ext cx="3551708" cy="15687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2149185C-BE74-4331-BDBC-DD1517993E0E}"/>
              </a:ext>
            </a:extLst>
          </p:cNvPr>
          <p:cNvSpPr/>
          <p:nvPr/>
        </p:nvSpPr>
        <p:spPr>
          <a:xfrm>
            <a:off x="11083363" y="1404319"/>
            <a:ext cx="41304" cy="29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34896B52-9BAB-4B7A-8D94-7B698354C095}"/>
              </a:ext>
            </a:extLst>
          </p:cNvPr>
          <p:cNvSpPr/>
          <p:nvPr/>
        </p:nvSpPr>
        <p:spPr>
          <a:xfrm>
            <a:off x="11136992" y="1404319"/>
            <a:ext cx="41304" cy="390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C343544-0429-4405-AFE8-451F23BCA5B5}"/>
              </a:ext>
            </a:extLst>
          </p:cNvPr>
          <p:cNvSpPr txBox="1"/>
          <p:nvPr/>
        </p:nvSpPr>
        <p:spPr>
          <a:xfrm>
            <a:off x="8520800" y="1646090"/>
            <a:ext cx="390795" cy="528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chemeClr val="bg1"/>
                </a:solidFill>
              </a:rPr>
              <a:t>3</a:t>
            </a:r>
            <a:endParaRPr lang="zh-CN" altLang="en-US" sz="3600" dirty="0">
              <a:solidFill>
                <a:schemeClr val="bg1"/>
              </a:solidFill>
            </a:endParaRPr>
          </a:p>
        </p:txBody>
      </p:sp>
      <p:sp>
        <p:nvSpPr>
          <p:cNvPr id="36" name="弧形 35">
            <a:extLst>
              <a:ext uri="{FF2B5EF4-FFF2-40B4-BE49-F238E27FC236}">
                <a16:creationId xmlns:a16="http://schemas.microsoft.com/office/drawing/2014/main" id="{44DD09E2-9507-46E6-A20A-322E89592F5C}"/>
              </a:ext>
            </a:extLst>
          </p:cNvPr>
          <p:cNvSpPr/>
          <p:nvPr/>
        </p:nvSpPr>
        <p:spPr>
          <a:xfrm flipH="1">
            <a:off x="8430728" y="1703498"/>
            <a:ext cx="436380" cy="436380"/>
          </a:xfrm>
          <a:prstGeom prst="arc">
            <a:avLst>
              <a:gd name="adj1" fmla="val 17557757"/>
              <a:gd name="adj2" fmla="val 10635694"/>
            </a:avLst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322FB068-7728-4673-8888-6A88A53FF20B}"/>
              </a:ext>
            </a:extLst>
          </p:cNvPr>
          <p:cNvSpPr/>
          <p:nvPr/>
        </p:nvSpPr>
        <p:spPr>
          <a:xfrm>
            <a:off x="8070919" y="4551221"/>
            <a:ext cx="33578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</a:rPr>
              <a:t>Lorem ipsum dolor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consectetue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adipiscing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elit</a:t>
            </a:r>
            <a:r>
              <a:rPr lang="en-US" altLang="zh-CN" sz="1200" dirty="0">
                <a:solidFill>
                  <a:schemeClr val="bg1"/>
                </a:solidFill>
              </a:rPr>
              <a:t>. Maecenas </a:t>
            </a:r>
            <a:r>
              <a:rPr lang="en-US" altLang="zh-CN" sz="1200" dirty="0" err="1">
                <a:solidFill>
                  <a:schemeClr val="bg1"/>
                </a:solidFill>
              </a:rPr>
              <a:t>porttitor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ngu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ssa</a:t>
            </a:r>
            <a:r>
              <a:rPr lang="en-US" altLang="zh-CN" sz="1200" dirty="0">
                <a:solidFill>
                  <a:schemeClr val="bg1"/>
                </a:solidFill>
              </a:rPr>
              <a:t>. </a:t>
            </a:r>
            <a:r>
              <a:rPr lang="en-US" altLang="zh-CN" sz="1200" dirty="0" err="1">
                <a:solidFill>
                  <a:schemeClr val="bg1"/>
                </a:solidFill>
              </a:rPr>
              <a:t>Fusce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posuere</a:t>
            </a:r>
            <a:r>
              <a:rPr lang="en-US" altLang="zh-CN" sz="1200" dirty="0">
                <a:solidFill>
                  <a:schemeClr val="bg1"/>
                </a:solidFill>
              </a:rPr>
              <a:t>, magna sed pulvinar </a:t>
            </a:r>
            <a:r>
              <a:rPr lang="en-US" altLang="zh-CN" sz="1200" dirty="0" err="1">
                <a:solidFill>
                  <a:schemeClr val="bg1"/>
                </a:solidFill>
              </a:rPr>
              <a:t>ultricies</a:t>
            </a:r>
            <a:r>
              <a:rPr lang="en-US" altLang="zh-CN" sz="1200" dirty="0">
                <a:solidFill>
                  <a:schemeClr val="bg1"/>
                </a:solidFill>
              </a:rPr>
              <a:t>, </a:t>
            </a:r>
            <a:r>
              <a:rPr lang="en-US" altLang="zh-CN" sz="1200" dirty="0" err="1">
                <a:solidFill>
                  <a:schemeClr val="bg1"/>
                </a:solidFill>
              </a:rPr>
              <a:t>pur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lectu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malesuada</a:t>
            </a:r>
            <a:r>
              <a:rPr lang="en-US" altLang="zh-CN" sz="1200" dirty="0">
                <a:solidFill>
                  <a:schemeClr val="bg1"/>
                </a:solidFill>
              </a:rPr>
              <a:t> libero, sit </a:t>
            </a:r>
            <a:r>
              <a:rPr lang="en-US" altLang="zh-CN" sz="1200" dirty="0" err="1">
                <a:solidFill>
                  <a:schemeClr val="bg1"/>
                </a:solidFill>
              </a:rPr>
              <a:t>amet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commodo</a:t>
            </a:r>
            <a:r>
              <a:rPr lang="en-US" altLang="zh-CN" sz="1200" dirty="0">
                <a:solidFill>
                  <a:schemeClr val="bg1"/>
                </a:solidFill>
              </a:rPr>
              <a:t> magna </a:t>
            </a:r>
            <a:r>
              <a:rPr lang="en-US" altLang="zh-CN" sz="1200" dirty="0" err="1">
                <a:solidFill>
                  <a:schemeClr val="bg1"/>
                </a:solidFill>
              </a:rPr>
              <a:t>ero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quis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urna</a:t>
            </a:r>
            <a:r>
              <a:rPr lang="en-US" altLang="zh-CN" sz="1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B0AA4596-E3DF-411D-92AB-56E71BFAF0D5}"/>
              </a:ext>
            </a:extLst>
          </p:cNvPr>
          <p:cNvSpPr/>
          <p:nvPr/>
        </p:nvSpPr>
        <p:spPr>
          <a:xfrm>
            <a:off x="8945483" y="1757157"/>
            <a:ext cx="18515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zh-CN" altLang="en-US" sz="1600" b="1" kern="0" dirty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选题的背景与意义</a:t>
            </a:r>
            <a:endParaRPr lang="en-US" altLang="zh-CN" sz="1600" b="1" kern="0" dirty="0">
              <a:solidFill>
                <a:schemeClr val="bg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104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753254" y="590123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选题的背景与意义</a:t>
              </a:r>
            </a:p>
          </p:txBody>
        </p:sp>
      </p:grpSp>
      <p:cxnSp>
        <p:nvCxnSpPr>
          <p:cNvPr id="10" name="直接连接符 18">
            <a:extLst>
              <a:ext uri="{FF2B5EF4-FFF2-40B4-BE49-F238E27FC236}">
                <a16:creationId xmlns:a16="http://schemas.microsoft.com/office/drawing/2014/main" id="{7E13B7EB-6A2F-4217-A4B2-D6A67DED48A4}"/>
              </a:ext>
            </a:extLst>
          </p:cNvPr>
          <p:cNvCxnSpPr/>
          <p:nvPr/>
        </p:nvCxnSpPr>
        <p:spPr>
          <a:xfrm>
            <a:off x="6426220" y="1214361"/>
            <a:ext cx="0" cy="2112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cxnSp>
        <p:nvCxnSpPr>
          <p:cNvPr id="11" name="直接连接符 20">
            <a:extLst>
              <a:ext uri="{FF2B5EF4-FFF2-40B4-BE49-F238E27FC236}">
                <a16:creationId xmlns:a16="http://schemas.microsoft.com/office/drawing/2014/main" id="{216147D5-B918-44D3-A784-F5EE44C12BC5}"/>
              </a:ext>
            </a:extLst>
          </p:cNvPr>
          <p:cNvCxnSpPr/>
          <p:nvPr/>
        </p:nvCxnSpPr>
        <p:spPr>
          <a:xfrm>
            <a:off x="3929357" y="1889426"/>
            <a:ext cx="0" cy="1344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sp>
        <p:nvSpPr>
          <p:cNvPr id="12" name="等腰三角形 11">
            <a:extLst>
              <a:ext uri="{FF2B5EF4-FFF2-40B4-BE49-F238E27FC236}">
                <a16:creationId xmlns:a16="http://schemas.microsoft.com/office/drawing/2014/main" id="{B9EB7622-10FB-4846-AC4C-D9D8F83DF499}"/>
              </a:ext>
            </a:extLst>
          </p:cNvPr>
          <p:cNvSpPr>
            <a:spLocks noChangeAspect="1"/>
          </p:cNvSpPr>
          <p:nvPr/>
        </p:nvSpPr>
        <p:spPr>
          <a:xfrm rot="6331942">
            <a:off x="6821410" y="2988437"/>
            <a:ext cx="1933929" cy="1920000"/>
          </a:xfrm>
          <a:prstGeom prst="triangle">
            <a:avLst>
              <a:gd name="adj" fmla="val 29723"/>
            </a:avLst>
          </a:prstGeom>
          <a:solidFill>
            <a:srgbClr val="0081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sp>
        <p:nvSpPr>
          <p:cNvPr id="13" name="等腰三角形 12">
            <a:extLst>
              <a:ext uri="{FF2B5EF4-FFF2-40B4-BE49-F238E27FC236}">
                <a16:creationId xmlns:a16="http://schemas.microsoft.com/office/drawing/2014/main" id="{C1AEF04B-B08D-47F1-BF71-EE967ED5C9FE}"/>
              </a:ext>
            </a:extLst>
          </p:cNvPr>
          <p:cNvSpPr>
            <a:spLocks noChangeAspect="1"/>
          </p:cNvSpPr>
          <p:nvPr/>
        </p:nvSpPr>
        <p:spPr>
          <a:xfrm rot="6331942">
            <a:off x="5833251" y="3228438"/>
            <a:ext cx="1450447" cy="1440000"/>
          </a:xfrm>
          <a:prstGeom prst="triangle">
            <a:avLst>
              <a:gd name="adj" fmla="val 29723"/>
            </a:avLst>
          </a:prstGeom>
          <a:solidFill>
            <a:srgbClr val="85BB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sp>
        <p:nvSpPr>
          <p:cNvPr id="14" name="等腰三角形 13">
            <a:extLst>
              <a:ext uri="{FF2B5EF4-FFF2-40B4-BE49-F238E27FC236}">
                <a16:creationId xmlns:a16="http://schemas.microsoft.com/office/drawing/2014/main" id="{F70E6CCD-5DBD-4A75-80BF-D11C4586BC06}"/>
              </a:ext>
            </a:extLst>
          </p:cNvPr>
          <p:cNvSpPr>
            <a:spLocks noChangeAspect="1"/>
          </p:cNvSpPr>
          <p:nvPr/>
        </p:nvSpPr>
        <p:spPr>
          <a:xfrm rot="6331942">
            <a:off x="4762150" y="3228438"/>
            <a:ext cx="1450447" cy="1440000"/>
          </a:xfrm>
          <a:prstGeom prst="triangle">
            <a:avLst>
              <a:gd name="adj" fmla="val 29723"/>
            </a:avLst>
          </a:prstGeom>
          <a:solidFill>
            <a:srgbClr val="0081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sp>
        <p:nvSpPr>
          <p:cNvPr id="15" name="等腰三角形 14">
            <a:extLst>
              <a:ext uri="{FF2B5EF4-FFF2-40B4-BE49-F238E27FC236}">
                <a16:creationId xmlns:a16="http://schemas.microsoft.com/office/drawing/2014/main" id="{66BF39C5-2EFE-4EA2-84F6-3715A1308114}"/>
              </a:ext>
            </a:extLst>
          </p:cNvPr>
          <p:cNvSpPr>
            <a:spLocks noChangeAspect="1"/>
          </p:cNvSpPr>
          <p:nvPr/>
        </p:nvSpPr>
        <p:spPr>
          <a:xfrm rot="6331942">
            <a:off x="3682134" y="3228438"/>
            <a:ext cx="1450447" cy="1440000"/>
          </a:xfrm>
          <a:prstGeom prst="triangle">
            <a:avLst>
              <a:gd name="adj" fmla="val 29723"/>
            </a:avLst>
          </a:prstGeom>
          <a:solidFill>
            <a:srgbClr val="85BB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sp>
        <p:nvSpPr>
          <p:cNvPr id="16" name="等腰三角形 8">
            <a:extLst>
              <a:ext uri="{FF2B5EF4-FFF2-40B4-BE49-F238E27FC236}">
                <a16:creationId xmlns:a16="http://schemas.microsoft.com/office/drawing/2014/main" id="{F360F60D-DBA1-455F-9E51-A3C8741E1F97}"/>
              </a:ext>
            </a:extLst>
          </p:cNvPr>
          <p:cNvSpPr>
            <a:spLocks noChangeAspect="1"/>
          </p:cNvSpPr>
          <p:nvPr/>
        </p:nvSpPr>
        <p:spPr>
          <a:xfrm rot="6331942">
            <a:off x="2637931" y="3250033"/>
            <a:ext cx="1307691" cy="1452101"/>
          </a:xfrm>
          <a:custGeom>
            <a:avLst/>
            <a:gdLst>
              <a:gd name="connsiteX0" fmla="*/ 0 w 1096977"/>
              <a:gd name="connsiteY0" fmla="*/ 1089076 h 1089076"/>
              <a:gd name="connsiteX1" fmla="*/ 326054 w 1096977"/>
              <a:gd name="connsiteY1" fmla="*/ 0 h 1089076"/>
              <a:gd name="connsiteX2" fmla="*/ 1096977 w 1096977"/>
              <a:gd name="connsiteY2" fmla="*/ 1089076 h 1089076"/>
              <a:gd name="connsiteX3" fmla="*/ 0 w 1096977"/>
              <a:gd name="connsiteY3" fmla="*/ 1089076 h 1089076"/>
              <a:gd name="connsiteX0" fmla="*/ 0 w 980768"/>
              <a:gd name="connsiteY0" fmla="*/ 819512 h 1089076"/>
              <a:gd name="connsiteX1" fmla="*/ 209845 w 980768"/>
              <a:gd name="connsiteY1" fmla="*/ 0 h 1089076"/>
              <a:gd name="connsiteX2" fmla="*/ 980768 w 980768"/>
              <a:gd name="connsiteY2" fmla="*/ 1089076 h 1089076"/>
              <a:gd name="connsiteX3" fmla="*/ 0 w 980768"/>
              <a:gd name="connsiteY3" fmla="*/ 819512 h 1089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0768" h="1089076">
                <a:moveTo>
                  <a:pt x="0" y="819512"/>
                </a:moveTo>
                <a:lnTo>
                  <a:pt x="209845" y="0"/>
                </a:lnTo>
                <a:lnTo>
                  <a:pt x="980768" y="1089076"/>
                </a:lnTo>
                <a:lnTo>
                  <a:pt x="0" y="819512"/>
                </a:lnTo>
                <a:close/>
              </a:path>
            </a:pathLst>
          </a:custGeom>
          <a:solidFill>
            <a:srgbClr val="0081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DA7F654C-788C-437B-8031-7E14B7408369}"/>
              </a:ext>
            </a:extLst>
          </p:cNvPr>
          <p:cNvSpPr/>
          <p:nvPr/>
        </p:nvSpPr>
        <p:spPr>
          <a:xfrm>
            <a:off x="7662107" y="3472126"/>
            <a:ext cx="240000" cy="2400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kern="0">
              <a:solidFill>
                <a:sysClr val="window" lastClr="FFFFFF"/>
              </a:solidFill>
              <a:latin typeface="Arial"/>
              <a:ea typeface="微软雅黑"/>
            </a:endParaRP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8C4ED96E-2D46-4BC6-8931-3F49D6BC5D9E}"/>
              </a:ext>
            </a:extLst>
          </p:cNvPr>
          <p:cNvCxnSpPr/>
          <p:nvPr/>
        </p:nvCxnSpPr>
        <p:spPr>
          <a:xfrm>
            <a:off x="5420779" y="4133765"/>
            <a:ext cx="0" cy="172025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cxnSp>
        <p:nvCxnSpPr>
          <p:cNvPr id="19" name="直接连接符 21">
            <a:extLst>
              <a:ext uri="{FF2B5EF4-FFF2-40B4-BE49-F238E27FC236}">
                <a16:creationId xmlns:a16="http://schemas.microsoft.com/office/drawing/2014/main" id="{A03749B0-0682-4930-B356-71C22F669C66}"/>
              </a:ext>
            </a:extLst>
          </p:cNvPr>
          <p:cNvCxnSpPr/>
          <p:nvPr/>
        </p:nvCxnSpPr>
        <p:spPr>
          <a:xfrm>
            <a:off x="3136181" y="4122346"/>
            <a:ext cx="0" cy="1344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D37FB873-3AFF-4696-B440-EA0D187378A9}"/>
              </a:ext>
            </a:extLst>
          </p:cNvPr>
          <p:cNvGrpSpPr/>
          <p:nvPr/>
        </p:nvGrpSpPr>
        <p:grpSpPr>
          <a:xfrm>
            <a:off x="1313520" y="4794346"/>
            <a:ext cx="1775816" cy="692098"/>
            <a:chOff x="842867" y="2881754"/>
            <a:chExt cx="1775816" cy="692098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397D696-32FE-4176-8B5E-F4B7F1CEFBA8}"/>
                </a:ext>
              </a:extLst>
            </p:cNvPr>
            <p:cNvSpPr/>
            <p:nvPr/>
          </p:nvSpPr>
          <p:spPr>
            <a:xfrm>
              <a:off x="1196624" y="2881754"/>
              <a:ext cx="1415772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 defTabSz="1219170">
                <a:defRPr/>
              </a:pPr>
              <a:r>
                <a:rPr lang="zh-CN" altLang="en-US" sz="12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选题的背景与意义</a:t>
              </a:r>
              <a:endParaRPr lang="en-US" altLang="zh-CN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D9C01B6B-9394-4EFD-B74C-DE0FEACC5E52}"/>
                </a:ext>
              </a:extLst>
            </p:cNvPr>
            <p:cNvSpPr/>
            <p:nvPr/>
          </p:nvSpPr>
          <p:spPr>
            <a:xfrm>
              <a:off x="842867" y="3112187"/>
              <a:ext cx="177581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ectetue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ipiscing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li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Maecena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rttito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gue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60AC5D15-354B-41A5-9241-1279516CF772}"/>
              </a:ext>
            </a:extLst>
          </p:cNvPr>
          <p:cNvGrpSpPr/>
          <p:nvPr/>
        </p:nvGrpSpPr>
        <p:grpSpPr>
          <a:xfrm>
            <a:off x="3624643" y="5214591"/>
            <a:ext cx="1775816" cy="692098"/>
            <a:chOff x="842867" y="2881754"/>
            <a:chExt cx="1775816" cy="692098"/>
          </a:xfrm>
        </p:grpSpPr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2CE7B0F1-7C12-4F97-A3D6-87E8ADEC46BD}"/>
                </a:ext>
              </a:extLst>
            </p:cNvPr>
            <p:cNvSpPr/>
            <p:nvPr/>
          </p:nvSpPr>
          <p:spPr>
            <a:xfrm>
              <a:off x="1196624" y="2881754"/>
              <a:ext cx="1415772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 defTabSz="1219170">
                <a:defRPr/>
              </a:pPr>
              <a:r>
                <a:rPr lang="zh-CN" altLang="en-US" sz="12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选题的背景与意义</a:t>
              </a:r>
              <a:endParaRPr lang="en-US" altLang="zh-CN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41BF2EAB-8068-44FF-B50F-18A531CCC4F1}"/>
                </a:ext>
              </a:extLst>
            </p:cNvPr>
            <p:cNvSpPr/>
            <p:nvPr/>
          </p:nvSpPr>
          <p:spPr>
            <a:xfrm>
              <a:off x="842867" y="3112187"/>
              <a:ext cx="177581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ectetue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ipiscing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li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Maecena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rttito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gue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832331D-22A1-417F-843A-E0B9F7EEE02A}"/>
              </a:ext>
            </a:extLst>
          </p:cNvPr>
          <p:cNvGrpSpPr/>
          <p:nvPr/>
        </p:nvGrpSpPr>
        <p:grpSpPr>
          <a:xfrm>
            <a:off x="2102603" y="1857877"/>
            <a:ext cx="1775816" cy="685898"/>
            <a:chOff x="842867" y="2887954"/>
            <a:chExt cx="1775816" cy="685898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26B5E3A9-53D4-43C5-A41C-57A613A53AC5}"/>
                </a:ext>
              </a:extLst>
            </p:cNvPr>
            <p:cNvSpPr/>
            <p:nvPr/>
          </p:nvSpPr>
          <p:spPr>
            <a:xfrm>
              <a:off x="1202911" y="2887954"/>
              <a:ext cx="1415772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 defTabSz="1219170">
                <a:defRPr/>
              </a:pPr>
              <a:r>
                <a:rPr lang="zh-CN" altLang="en-US" sz="12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选题的背景与意义</a:t>
              </a:r>
              <a:endParaRPr lang="en-US" altLang="zh-CN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E9A9A697-DF49-4341-9CE0-5FC5F530157C}"/>
                </a:ext>
              </a:extLst>
            </p:cNvPr>
            <p:cNvSpPr/>
            <p:nvPr/>
          </p:nvSpPr>
          <p:spPr>
            <a:xfrm>
              <a:off x="842867" y="3112187"/>
              <a:ext cx="177581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ectetue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ipiscing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li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Maecena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rttito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gue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48B45551-651F-4099-B31C-A245E437008C}"/>
              </a:ext>
            </a:extLst>
          </p:cNvPr>
          <p:cNvGrpSpPr/>
          <p:nvPr/>
        </p:nvGrpSpPr>
        <p:grpSpPr>
          <a:xfrm>
            <a:off x="4599466" y="1159579"/>
            <a:ext cx="1775816" cy="692098"/>
            <a:chOff x="842867" y="2881754"/>
            <a:chExt cx="1775816" cy="692098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3BD51866-4022-4440-B848-1A1054ED9DE0}"/>
                </a:ext>
              </a:extLst>
            </p:cNvPr>
            <p:cNvSpPr/>
            <p:nvPr/>
          </p:nvSpPr>
          <p:spPr>
            <a:xfrm>
              <a:off x="1196624" y="2881754"/>
              <a:ext cx="1415772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 defTabSz="1219170">
                <a:defRPr/>
              </a:pPr>
              <a:r>
                <a:rPr lang="zh-CN" altLang="en-US" sz="12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选题的背景与意义</a:t>
              </a:r>
              <a:endParaRPr lang="en-US" altLang="zh-CN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6250985-4503-4490-813E-CF592DF0B383}"/>
                </a:ext>
              </a:extLst>
            </p:cNvPr>
            <p:cNvSpPr/>
            <p:nvPr/>
          </p:nvSpPr>
          <p:spPr>
            <a:xfrm>
              <a:off x="842867" y="3112187"/>
              <a:ext cx="177581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me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ectetue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ipiscing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lit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Maecena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rttitor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gue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ss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 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EF9931F0-C6FC-4005-9B59-FDB5B266325B}"/>
              </a:ext>
            </a:extLst>
          </p:cNvPr>
          <p:cNvSpPr txBox="1"/>
          <p:nvPr/>
        </p:nvSpPr>
        <p:spPr>
          <a:xfrm>
            <a:off x="9102607" y="3567134"/>
            <a:ext cx="222868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715F1243-0640-4439-AB12-E3431289798E}"/>
              </a:ext>
            </a:extLst>
          </p:cNvPr>
          <p:cNvSpPr/>
          <p:nvPr/>
        </p:nvSpPr>
        <p:spPr>
          <a:xfrm>
            <a:off x="9303876" y="3162766"/>
            <a:ext cx="1826141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 defTabSz="1219170">
              <a:defRPr/>
            </a:pPr>
            <a:r>
              <a:rPr lang="zh-CN" altLang="en-US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选题的背景与意义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293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 flipH="1">
            <a:off x="0" y="0"/>
            <a:ext cx="10281140" cy="633100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7450267" y="3133247"/>
            <a:ext cx="37753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方法及过程</a:t>
            </a:r>
            <a:endParaRPr lang="zh-CN" altLang="en-US" sz="40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980A22-7E37-4178-B442-276318BF5894}"/>
              </a:ext>
            </a:extLst>
          </p:cNvPr>
          <p:cNvSpPr/>
          <p:nvPr/>
        </p:nvSpPr>
        <p:spPr>
          <a:xfrm>
            <a:off x="7863040" y="3841133"/>
            <a:ext cx="29498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methods and processes </a:t>
            </a:r>
            <a:endParaRPr lang="zh-CN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61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868670" y="590123"/>
              <a:ext cx="18004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方法及过程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id="{95FEE070-0745-48A4-96E4-ACFABB40EB6B}"/>
              </a:ext>
            </a:extLst>
          </p:cNvPr>
          <p:cNvSpPr/>
          <p:nvPr/>
        </p:nvSpPr>
        <p:spPr>
          <a:xfrm>
            <a:off x="3539936" y="1293946"/>
            <a:ext cx="100540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6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方法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2491B4F-63D6-4C63-9606-ACDFF63BC3C2}"/>
              </a:ext>
            </a:extLst>
          </p:cNvPr>
          <p:cNvSpPr/>
          <p:nvPr/>
        </p:nvSpPr>
        <p:spPr>
          <a:xfrm>
            <a:off x="3618211" y="1719986"/>
            <a:ext cx="2077692" cy="338554"/>
          </a:xfrm>
          <a:prstGeom prst="rect">
            <a:avLst/>
          </a:prstGeom>
          <a:solidFill>
            <a:srgbClr val="85B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/>
              <a:t>Step 01</a:t>
            </a:r>
            <a:endParaRPr lang="zh-CN" altLang="en-US" sz="24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9756B89-2193-459C-A233-4DC9337002AA}"/>
              </a:ext>
            </a:extLst>
          </p:cNvPr>
          <p:cNvSpPr txBox="1"/>
          <p:nvPr/>
        </p:nvSpPr>
        <p:spPr>
          <a:xfrm>
            <a:off x="3545851" y="2146026"/>
            <a:ext cx="226057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47953AD-0F40-40A0-9691-28F971FD95A8}"/>
              </a:ext>
            </a:extLst>
          </p:cNvPr>
          <p:cNvSpPr/>
          <p:nvPr/>
        </p:nvSpPr>
        <p:spPr>
          <a:xfrm>
            <a:off x="9078684" y="1293946"/>
            <a:ext cx="100540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方法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CE1E64F-13A2-4FE1-AE5A-FCBFFA0E5C13}"/>
              </a:ext>
            </a:extLst>
          </p:cNvPr>
          <p:cNvSpPr/>
          <p:nvPr/>
        </p:nvSpPr>
        <p:spPr>
          <a:xfrm>
            <a:off x="9106436" y="1719986"/>
            <a:ext cx="2077692" cy="338554"/>
          </a:xfrm>
          <a:prstGeom prst="rect">
            <a:avLst/>
          </a:prstGeom>
          <a:solidFill>
            <a:srgbClr val="008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/>
              <a:t>Step 01</a:t>
            </a:r>
            <a:endParaRPr lang="zh-CN" altLang="en-US" sz="24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697636D-F114-44E0-84C5-E71E5233F4E9}"/>
              </a:ext>
            </a:extLst>
          </p:cNvPr>
          <p:cNvSpPr txBox="1"/>
          <p:nvPr/>
        </p:nvSpPr>
        <p:spPr>
          <a:xfrm>
            <a:off x="9034076" y="2146026"/>
            <a:ext cx="226057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CA55B97-30D0-421A-A998-DCEBDF0D1C77}"/>
              </a:ext>
            </a:extLst>
          </p:cNvPr>
          <p:cNvSpPr/>
          <p:nvPr/>
        </p:nvSpPr>
        <p:spPr>
          <a:xfrm>
            <a:off x="3590459" y="4097620"/>
            <a:ext cx="100540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方法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4668271-E1B5-4A33-ACA0-9F9EC1432058}"/>
              </a:ext>
            </a:extLst>
          </p:cNvPr>
          <p:cNvSpPr/>
          <p:nvPr/>
        </p:nvSpPr>
        <p:spPr>
          <a:xfrm>
            <a:off x="3618211" y="4523660"/>
            <a:ext cx="2077692" cy="338554"/>
          </a:xfrm>
          <a:prstGeom prst="rect">
            <a:avLst/>
          </a:prstGeom>
          <a:solidFill>
            <a:srgbClr val="0081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/>
              <a:t>Step 01</a:t>
            </a:r>
            <a:endParaRPr lang="zh-CN" altLang="en-US" sz="24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08633999-555B-46C4-9A4E-5A005C07C340}"/>
              </a:ext>
            </a:extLst>
          </p:cNvPr>
          <p:cNvSpPr txBox="1"/>
          <p:nvPr/>
        </p:nvSpPr>
        <p:spPr>
          <a:xfrm>
            <a:off x="3545851" y="4949700"/>
            <a:ext cx="226057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5E8BEDF-21D9-48AD-862B-97B9D8928C9F}"/>
              </a:ext>
            </a:extLst>
          </p:cNvPr>
          <p:cNvSpPr/>
          <p:nvPr/>
        </p:nvSpPr>
        <p:spPr>
          <a:xfrm>
            <a:off x="9078684" y="4097620"/>
            <a:ext cx="100540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1219170">
              <a:defRPr/>
            </a:pPr>
            <a:r>
              <a:rPr lang="zh-CN" altLang="en-US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研究方法</a:t>
            </a:r>
            <a:endParaRPr lang="en-US" altLang="zh-CN" sz="1600" b="1" kern="0" dirty="0">
              <a:solidFill>
                <a:schemeClr val="tx1">
                  <a:lumMod val="95000"/>
                  <a:lumOff val="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2A70100-24BD-41EA-9CE9-3808F09906F7}"/>
              </a:ext>
            </a:extLst>
          </p:cNvPr>
          <p:cNvSpPr/>
          <p:nvPr/>
        </p:nvSpPr>
        <p:spPr>
          <a:xfrm>
            <a:off x="9106436" y="4523660"/>
            <a:ext cx="2077692" cy="338554"/>
          </a:xfrm>
          <a:prstGeom prst="rect">
            <a:avLst/>
          </a:prstGeom>
          <a:solidFill>
            <a:srgbClr val="85BB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/>
              <a:t>Step 01</a:t>
            </a:r>
            <a:endParaRPr lang="zh-CN" altLang="en-US" sz="240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EC7D386B-FFDE-494D-B71D-FD4E89445FF2}"/>
              </a:ext>
            </a:extLst>
          </p:cNvPr>
          <p:cNvSpPr txBox="1"/>
          <p:nvPr/>
        </p:nvSpPr>
        <p:spPr>
          <a:xfrm>
            <a:off x="9034076" y="4949700"/>
            <a:ext cx="2260572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, consectetuer adipiscing elit. Maecenas porttitor congue massa. Fusce posuere, magna sed pulvinar ultricies, purus lectus malesuada libero, sit amet commodo magna eros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uis</a:t>
            </a: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zh-CN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rna</a:t>
            </a:r>
            <a:endParaRPr lang="en-US" altLang="zh-CN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2" name="Picture 2" descr="äºè¯ç¶², åå°, åæ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6"/>
          <a:stretch/>
        </p:blipFill>
        <p:spPr bwMode="auto">
          <a:xfrm>
            <a:off x="704402" y="1463223"/>
            <a:ext cx="2404798" cy="1789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åæ¬, åå¡, å®¤å§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23"/>
          <a:stretch/>
        </p:blipFill>
        <p:spPr bwMode="auto">
          <a:xfrm>
            <a:off x="699700" y="4266897"/>
            <a:ext cx="2409500" cy="177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å°æ¯¯, å®¤å§è¨­è¨, åº§ä½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499" y="4266897"/>
            <a:ext cx="2409500" cy="177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å, å§é¨, å¬å¯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998" y="1473708"/>
            <a:ext cx="2404342" cy="177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917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7981952" y="129550"/>
            <a:ext cx="4042061" cy="487566"/>
            <a:chOff x="3807793" y="520248"/>
            <a:chExt cx="4042061" cy="487566"/>
          </a:xfrm>
        </p:grpSpPr>
        <p:grpSp>
          <p:nvGrpSpPr>
            <p:cNvPr id="6" name="组合 5"/>
            <p:cNvGrpSpPr/>
            <p:nvPr/>
          </p:nvGrpSpPr>
          <p:grpSpPr>
            <a:xfrm>
              <a:off x="3807793" y="520248"/>
              <a:ext cx="4042061" cy="487566"/>
              <a:chOff x="2237993" y="4042701"/>
              <a:chExt cx="7924440" cy="955870"/>
            </a:xfrm>
          </p:grpSpPr>
          <p:sp>
            <p:nvSpPr>
              <p:cNvPr id="8" name="形状">
                <a:extLst>
                  <a:ext uri="{FF2B5EF4-FFF2-40B4-BE49-F238E27FC236}">
                    <a16:creationId xmlns:a16="http://schemas.microsoft.com/office/drawing/2014/main" id="{F47AD865-09C0-465C-920B-8B5CBD771BA4}"/>
                  </a:ext>
                </a:extLst>
              </p:cNvPr>
              <p:cNvSpPr/>
              <p:nvPr/>
            </p:nvSpPr>
            <p:spPr>
              <a:xfrm>
                <a:off x="2237993" y="4042701"/>
                <a:ext cx="7924440" cy="955870"/>
              </a:xfrm>
              <a:custGeom>
                <a:avLst/>
                <a:gdLst>
                  <a:gd name="connsiteX0" fmla="*/ 0 w 8665700"/>
                  <a:gd name="connsiteY0" fmla="*/ 477934 h 955870"/>
                  <a:gd name="connsiteX1" fmla="*/ 0 w 8665700"/>
                  <a:gd name="connsiteY1" fmla="*/ 477935 h 955870"/>
                  <a:gd name="connsiteX2" fmla="*/ 0 w 8665700"/>
                  <a:gd name="connsiteY2" fmla="*/ 477935 h 955870"/>
                  <a:gd name="connsiteX3" fmla="*/ 484260 w 8665700"/>
                  <a:gd name="connsiteY3" fmla="*/ 146075 h 955870"/>
                  <a:gd name="connsiteX4" fmla="*/ 152401 w 8665700"/>
                  <a:gd name="connsiteY4" fmla="*/ 477934 h 955870"/>
                  <a:gd name="connsiteX5" fmla="*/ 484260 w 8665700"/>
                  <a:gd name="connsiteY5" fmla="*/ 809793 h 955870"/>
                  <a:gd name="connsiteX6" fmla="*/ 7417942 w 8665700"/>
                  <a:gd name="connsiteY6" fmla="*/ 809793 h 955870"/>
                  <a:gd name="connsiteX7" fmla="*/ 7749801 w 8665700"/>
                  <a:gd name="connsiteY7" fmla="*/ 477934 h 955870"/>
                  <a:gd name="connsiteX8" fmla="*/ 7417942 w 8665700"/>
                  <a:gd name="connsiteY8" fmla="*/ 146075 h 955870"/>
                  <a:gd name="connsiteX9" fmla="*/ 477935 w 8665700"/>
                  <a:gd name="connsiteY9" fmla="*/ 0 h 955870"/>
                  <a:gd name="connsiteX10" fmla="*/ 8187765 w 8665700"/>
                  <a:gd name="connsiteY10" fmla="*/ 0 h 955870"/>
                  <a:gd name="connsiteX11" fmla="*/ 8665700 w 8665700"/>
                  <a:gd name="connsiteY11" fmla="*/ 477935 h 955870"/>
                  <a:gd name="connsiteX12" fmla="*/ 8665699 w 8665700"/>
                  <a:gd name="connsiteY12" fmla="*/ 477935 h 955870"/>
                  <a:gd name="connsiteX13" fmla="*/ 8187764 w 8665700"/>
                  <a:gd name="connsiteY13" fmla="*/ 955870 h 955870"/>
                  <a:gd name="connsiteX14" fmla="*/ 477935 w 8665700"/>
                  <a:gd name="connsiteY14" fmla="*/ 955869 h 955870"/>
                  <a:gd name="connsiteX15" fmla="*/ 9710 w 8665700"/>
                  <a:gd name="connsiteY15" fmla="*/ 574255 h 955870"/>
                  <a:gd name="connsiteX16" fmla="*/ 0 w 8665700"/>
                  <a:gd name="connsiteY16" fmla="*/ 477935 h 955870"/>
                  <a:gd name="connsiteX17" fmla="*/ 9710 w 8665700"/>
                  <a:gd name="connsiteY17" fmla="*/ 381615 h 955870"/>
                  <a:gd name="connsiteX18" fmla="*/ 477935 w 8665700"/>
                  <a:gd name="connsiteY18" fmla="*/ 0 h 95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665700" h="955870">
                    <a:moveTo>
                      <a:pt x="0" y="477934"/>
                    </a:moveTo>
                    <a:lnTo>
                      <a:pt x="0" y="477935"/>
                    </a:lnTo>
                    <a:lnTo>
                      <a:pt x="0" y="477935"/>
                    </a:lnTo>
                    <a:close/>
                    <a:moveTo>
                      <a:pt x="484260" y="146075"/>
                    </a:moveTo>
                    <a:cubicBezTo>
                      <a:pt x="300979" y="146075"/>
                      <a:pt x="152401" y="294653"/>
                      <a:pt x="152401" y="477934"/>
                    </a:cubicBezTo>
                    <a:cubicBezTo>
                      <a:pt x="152401" y="661215"/>
                      <a:pt x="300979" y="809793"/>
                      <a:pt x="484260" y="809793"/>
                    </a:cubicBezTo>
                    <a:lnTo>
                      <a:pt x="7417942" y="809793"/>
                    </a:lnTo>
                    <a:cubicBezTo>
                      <a:pt x="7601223" y="809793"/>
                      <a:pt x="7749801" y="661215"/>
                      <a:pt x="7749801" y="477934"/>
                    </a:cubicBezTo>
                    <a:cubicBezTo>
                      <a:pt x="7749801" y="294653"/>
                      <a:pt x="7601223" y="146075"/>
                      <a:pt x="7417942" y="146075"/>
                    </a:cubicBezTo>
                    <a:close/>
                    <a:moveTo>
                      <a:pt x="477935" y="0"/>
                    </a:moveTo>
                    <a:lnTo>
                      <a:pt x="8187765" y="0"/>
                    </a:lnTo>
                    <a:cubicBezTo>
                      <a:pt x="8451721" y="0"/>
                      <a:pt x="8665700" y="213979"/>
                      <a:pt x="8665700" y="477935"/>
                    </a:cubicBezTo>
                    <a:lnTo>
                      <a:pt x="8665699" y="477935"/>
                    </a:lnTo>
                    <a:cubicBezTo>
                      <a:pt x="8665699" y="741891"/>
                      <a:pt x="8451720" y="955870"/>
                      <a:pt x="8187764" y="955870"/>
                    </a:cubicBezTo>
                    <a:lnTo>
                      <a:pt x="477935" y="955869"/>
                    </a:lnTo>
                    <a:cubicBezTo>
                      <a:pt x="246974" y="955869"/>
                      <a:pt x="54276" y="792041"/>
                      <a:pt x="9710" y="574255"/>
                    </a:cubicBezTo>
                    <a:lnTo>
                      <a:pt x="0" y="477935"/>
                    </a:lnTo>
                    <a:lnTo>
                      <a:pt x="9710" y="381615"/>
                    </a:lnTo>
                    <a:cubicBezTo>
                      <a:pt x="54276" y="163828"/>
                      <a:pt x="246974" y="0"/>
                      <a:pt x="47793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10000"/>
                    </a:schemeClr>
                  </a:gs>
                  <a:gs pos="44000">
                    <a:srgbClr val="00CDC4"/>
                  </a:gs>
                  <a:gs pos="100000">
                    <a:srgbClr val="5EBAE6">
                      <a:alpha val="31000"/>
                    </a:srgbClr>
                  </a:gs>
                </a:gsLst>
                <a:lin ang="10800000" scaled="1"/>
                <a:tileRect/>
              </a:gradFill>
              <a:ln w="6350">
                <a:solidFill>
                  <a:schemeClr val="bg1"/>
                </a:solidFill>
              </a:ln>
              <a:effectLst>
                <a:outerShdw blurRad="50800" dist="25400" dir="10800000" algn="r" rotWithShape="0">
                  <a:schemeClr val="bg1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图标">
                <a:extLst>
                  <a:ext uri="{FF2B5EF4-FFF2-40B4-BE49-F238E27FC236}">
                    <a16:creationId xmlns:a16="http://schemas.microsoft.com/office/drawing/2014/main" id="{0DCE396B-56CD-45D7-98D7-106617701172}"/>
                  </a:ext>
                </a:extLst>
              </p:cNvPr>
              <p:cNvSpPr/>
              <p:nvPr/>
            </p:nvSpPr>
            <p:spPr>
              <a:xfrm rot="2700000">
                <a:off x="9502759" y="4271399"/>
                <a:ext cx="283417" cy="631394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2B81DC0-7DC2-43A8-924F-07D77F840D27}"/>
                </a:ext>
              </a:extLst>
            </p:cNvPr>
            <p:cNvSpPr txBox="1"/>
            <p:nvPr/>
          </p:nvSpPr>
          <p:spPr>
            <a:xfrm>
              <a:off x="4868670" y="590123"/>
              <a:ext cx="18004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研究方法及过程</a:t>
              </a:r>
              <a:endPara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C002A258-D5FF-4E44-AAFD-11C51698005D}"/>
              </a:ext>
            </a:extLst>
          </p:cNvPr>
          <p:cNvGrpSpPr/>
          <p:nvPr/>
        </p:nvGrpSpPr>
        <p:grpSpPr>
          <a:xfrm>
            <a:off x="1170579" y="1467844"/>
            <a:ext cx="7944543" cy="3922311"/>
            <a:chOff x="2474447" y="1696169"/>
            <a:chExt cx="6386286" cy="3152982"/>
          </a:xfrm>
        </p:grpSpPr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E4ECC9BF-7EA8-4F62-A42F-A56DE456E48D}"/>
                </a:ext>
              </a:extLst>
            </p:cNvPr>
            <p:cNvCxnSpPr/>
            <p:nvPr/>
          </p:nvCxnSpPr>
          <p:spPr>
            <a:xfrm flipV="1">
              <a:off x="2837304" y="2846180"/>
              <a:ext cx="1741714" cy="1712685"/>
            </a:xfrm>
            <a:prstGeom prst="line">
              <a:avLst/>
            </a:prstGeom>
            <a:solidFill>
              <a:srgbClr val="E56D29"/>
            </a:solidFill>
            <a:ln w="38100" cap="flat" cmpd="sng" algn="ctr">
              <a:solidFill>
                <a:srgbClr val="00817D"/>
              </a:solidFill>
              <a:prstDash val="solid"/>
              <a:miter lim="800000"/>
            </a:ln>
            <a:effectLst/>
          </p:spPr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CE4500DB-C05A-42C0-9404-9B6D3D63E158}"/>
                </a:ext>
              </a:extLst>
            </p:cNvPr>
            <p:cNvCxnSpPr/>
            <p:nvPr/>
          </p:nvCxnSpPr>
          <p:spPr>
            <a:xfrm>
              <a:off x="4593533" y="2860694"/>
              <a:ext cx="1828800" cy="261257"/>
            </a:xfrm>
            <a:prstGeom prst="line">
              <a:avLst/>
            </a:prstGeom>
            <a:solidFill>
              <a:srgbClr val="E56D29"/>
            </a:solidFill>
            <a:ln w="38100" cap="flat" cmpd="sng" algn="ctr">
              <a:solidFill>
                <a:srgbClr val="00817D"/>
              </a:solidFill>
              <a:prstDash val="solid"/>
              <a:miter lim="800000"/>
            </a:ln>
            <a:effectLst/>
          </p:spPr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B24CB6C3-9270-4A9C-8E0C-BF22C2901498}"/>
                </a:ext>
              </a:extLst>
            </p:cNvPr>
            <p:cNvCxnSpPr/>
            <p:nvPr/>
          </p:nvCxnSpPr>
          <p:spPr>
            <a:xfrm flipV="1">
              <a:off x="6637414" y="1971941"/>
              <a:ext cx="1758861" cy="1128338"/>
            </a:xfrm>
            <a:prstGeom prst="line">
              <a:avLst/>
            </a:prstGeom>
            <a:solidFill>
              <a:srgbClr val="E56D29"/>
            </a:solidFill>
            <a:ln w="38100" cap="flat" cmpd="sng" algn="ctr">
              <a:solidFill>
                <a:srgbClr val="00817D"/>
              </a:solidFill>
              <a:prstDash val="solid"/>
              <a:miter lim="800000"/>
            </a:ln>
            <a:effectLst/>
          </p:spPr>
        </p:cxn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F80DDB4E-26FA-407A-A5D3-9C25634E0959}"/>
                </a:ext>
              </a:extLst>
            </p:cNvPr>
            <p:cNvGrpSpPr/>
            <p:nvPr/>
          </p:nvGrpSpPr>
          <p:grpSpPr>
            <a:xfrm>
              <a:off x="2474447" y="4297607"/>
              <a:ext cx="551544" cy="551544"/>
              <a:chOff x="2053403" y="3516861"/>
              <a:chExt cx="551544" cy="551544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E390299C-60CE-4191-86FE-9962FE0086C2}"/>
                  </a:ext>
                </a:extLst>
              </p:cNvPr>
              <p:cNvSpPr/>
              <p:nvPr/>
            </p:nvSpPr>
            <p:spPr>
              <a:xfrm>
                <a:off x="2053403" y="3516861"/>
                <a:ext cx="551544" cy="551544"/>
              </a:xfrm>
              <a:prstGeom prst="ellipse">
                <a:avLst/>
              </a:prstGeom>
              <a:solidFill>
                <a:srgbClr val="00817D"/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FF60B588-7302-424F-9C8D-39122B5585C3}"/>
                  </a:ext>
                </a:extLst>
              </p:cNvPr>
              <p:cNvSpPr/>
              <p:nvPr/>
            </p:nvSpPr>
            <p:spPr>
              <a:xfrm>
                <a:off x="2176773" y="3632977"/>
                <a:ext cx="377372" cy="37737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D6162C4C-79E2-49B3-8F36-C67C02429454}"/>
                  </a:ext>
                </a:extLst>
              </p:cNvPr>
              <p:cNvSpPr txBox="1"/>
              <p:nvPr/>
            </p:nvSpPr>
            <p:spPr>
              <a:xfrm>
                <a:off x="2139101" y="3670045"/>
                <a:ext cx="354619" cy="2968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>
                  <a:defRPr sz="2800" b="1">
                    <a:solidFill>
                      <a:schemeClr val="bg1"/>
                    </a:solidFill>
                    <a:latin typeface="造字工房尚黑 G0v1 常规体" pitchFamily="50" charset="-122"/>
                    <a:ea typeface="造字工房尚黑 G0v1 常规体" pitchFamily="50" charset="-122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n-lt"/>
                    <a:ea typeface="造字工房尚黑 G0v1 常规体" pitchFamily="50" charset="-122"/>
                  </a:rPr>
                  <a:t>01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造字工房尚黑 G0v1 常规体" pitchFamily="50" charset="-122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46662F1-D563-4206-B36E-923EB2DEABA1}"/>
                </a:ext>
              </a:extLst>
            </p:cNvPr>
            <p:cNvGrpSpPr/>
            <p:nvPr/>
          </p:nvGrpSpPr>
          <p:grpSpPr>
            <a:xfrm>
              <a:off x="4310504" y="2584922"/>
              <a:ext cx="551544" cy="551544"/>
              <a:chOff x="3889460" y="1804176"/>
              <a:chExt cx="551544" cy="551544"/>
            </a:xfrm>
          </p:grpSpPr>
          <p:sp>
            <p:nvSpPr>
              <p:cNvPr id="24" name="椭圆 23">
                <a:extLst>
                  <a:ext uri="{FF2B5EF4-FFF2-40B4-BE49-F238E27FC236}">
                    <a16:creationId xmlns:a16="http://schemas.microsoft.com/office/drawing/2014/main" id="{0CD7DC60-4059-4B38-B3F8-99A28BD86127}"/>
                  </a:ext>
                </a:extLst>
              </p:cNvPr>
              <p:cNvSpPr/>
              <p:nvPr/>
            </p:nvSpPr>
            <p:spPr>
              <a:xfrm>
                <a:off x="3889460" y="1804176"/>
                <a:ext cx="551544" cy="551544"/>
              </a:xfrm>
              <a:prstGeom prst="ellipse">
                <a:avLst/>
              </a:prstGeom>
              <a:solidFill>
                <a:srgbClr val="00817D"/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5" name="椭圆 24">
                <a:extLst>
                  <a:ext uri="{FF2B5EF4-FFF2-40B4-BE49-F238E27FC236}">
                    <a16:creationId xmlns:a16="http://schemas.microsoft.com/office/drawing/2014/main" id="{8E5C6CE1-3908-4740-A5BB-92D170639833}"/>
                  </a:ext>
                </a:extLst>
              </p:cNvPr>
              <p:cNvSpPr/>
              <p:nvPr/>
            </p:nvSpPr>
            <p:spPr>
              <a:xfrm>
                <a:off x="3969287" y="1854977"/>
                <a:ext cx="377372" cy="37737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AE1587B3-0804-4D4A-8BA0-68D1CAB5581C}"/>
                  </a:ext>
                </a:extLst>
              </p:cNvPr>
              <p:cNvSpPr txBox="1"/>
              <p:nvPr/>
            </p:nvSpPr>
            <p:spPr>
              <a:xfrm>
                <a:off x="3919054" y="1895282"/>
                <a:ext cx="354619" cy="2968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>
                  <a:defRPr sz="2800" b="1">
                    <a:solidFill>
                      <a:schemeClr val="bg1"/>
                    </a:solidFill>
                    <a:latin typeface="造字工房尚黑 G0v1 常规体" pitchFamily="50" charset="-122"/>
                    <a:ea typeface="造字工房尚黑 G0v1 常规体" pitchFamily="50" charset="-122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n-lt"/>
                    <a:ea typeface="造字工房尚黑 G0v1 常规体" pitchFamily="50" charset="-122"/>
                  </a:rPr>
                  <a:t>02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造字工房尚黑 G0v1 常规体" pitchFamily="50" charset="-122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2EF90EC7-B37D-4723-9CF4-B0EF7B942AE5}"/>
                </a:ext>
              </a:extLst>
            </p:cNvPr>
            <p:cNvGrpSpPr/>
            <p:nvPr/>
          </p:nvGrpSpPr>
          <p:grpSpPr>
            <a:xfrm>
              <a:off x="6307213" y="2824507"/>
              <a:ext cx="551544" cy="551544"/>
              <a:chOff x="5671088" y="2087204"/>
              <a:chExt cx="551544" cy="551544"/>
            </a:xfrm>
          </p:grpSpPr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7112EC9A-5894-4BE4-9973-DAEF84821242}"/>
                  </a:ext>
                </a:extLst>
              </p:cNvPr>
              <p:cNvSpPr/>
              <p:nvPr/>
            </p:nvSpPr>
            <p:spPr>
              <a:xfrm>
                <a:off x="5671088" y="2087204"/>
                <a:ext cx="551544" cy="551544"/>
              </a:xfrm>
              <a:prstGeom prst="ellipse">
                <a:avLst/>
              </a:prstGeom>
              <a:solidFill>
                <a:srgbClr val="00817D"/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2" name="椭圆 21">
                <a:extLst>
                  <a:ext uri="{FF2B5EF4-FFF2-40B4-BE49-F238E27FC236}">
                    <a16:creationId xmlns:a16="http://schemas.microsoft.com/office/drawing/2014/main" id="{495E2AAC-40B8-4A7D-9EBE-C82BEB927CAD}"/>
                  </a:ext>
                </a:extLst>
              </p:cNvPr>
              <p:cNvSpPr/>
              <p:nvPr/>
            </p:nvSpPr>
            <p:spPr>
              <a:xfrm>
                <a:off x="5812603" y="2196062"/>
                <a:ext cx="377372" cy="37737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04FF6BFB-758F-4346-AB31-D0E1B8263DC7}"/>
                  </a:ext>
                </a:extLst>
              </p:cNvPr>
              <p:cNvSpPr txBox="1"/>
              <p:nvPr/>
            </p:nvSpPr>
            <p:spPr>
              <a:xfrm>
                <a:off x="5766201" y="2210576"/>
                <a:ext cx="354619" cy="2968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>
                  <a:defRPr sz="2800" b="1">
                    <a:solidFill>
                      <a:schemeClr val="bg1"/>
                    </a:solidFill>
                    <a:latin typeface="造字工房尚黑 G0v1 常规体" pitchFamily="50" charset="-122"/>
                    <a:ea typeface="造字工房尚黑 G0v1 常规体" pitchFamily="50" charset="-122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n-lt"/>
                    <a:ea typeface="造字工房尚黑 G0v1 常规体" pitchFamily="50" charset="-122"/>
                  </a:rPr>
                  <a:t>03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造字工房尚黑 G0v1 常规体" pitchFamily="50" charset="-122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54E96127-F0C7-4D2D-A0C0-7FAC20C5226E}"/>
                </a:ext>
              </a:extLst>
            </p:cNvPr>
            <p:cNvGrpSpPr/>
            <p:nvPr/>
          </p:nvGrpSpPr>
          <p:grpSpPr>
            <a:xfrm>
              <a:off x="8309189" y="1696169"/>
              <a:ext cx="551544" cy="551544"/>
              <a:chOff x="7631083" y="1016671"/>
              <a:chExt cx="551544" cy="551544"/>
            </a:xfrm>
          </p:grpSpPr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4B3A2FFD-39FB-4D95-9F05-BF989CF586FF}"/>
                  </a:ext>
                </a:extLst>
              </p:cNvPr>
              <p:cNvSpPr/>
              <p:nvPr/>
            </p:nvSpPr>
            <p:spPr>
              <a:xfrm>
                <a:off x="7631083" y="1016671"/>
                <a:ext cx="551544" cy="551544"/>
              </a:xfrm>
              <a:prstGeom prst="ellipse">
                <a:avLst/>
              </a:prstGeom>
              <a:solidFill>
                <a:srgbClr val="00817D"/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613D39C2-D97B-4D10-92AF-A4CEAF005CE0}"/>
                  </a:ext>
                </a:extLst>
              </p:cNvPr>
              <p:cNvSpPr/>
              <p:nvPr/>
            </p:nvSpPr>
            <p:spPr>
              <a:xfrm>
                <a:off x="7759613" y="1074728"/>
                <a:ext cx="377372" cy="37737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0D592617-B099-44D0-B351-3ED398D31B4E}"/>
                  </a:ext>
                </a:extLst>
              </p:cNvPr>
              <p:cNvSpPr txBox="1"/>
              <p:nvPr/>
            </p:nvSpPr>
            <p:spPr>
              <a:xfrm>
                <a:off x="7721254" y="1111796"/>
                <a:ext cx="354619" cy="2968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>
                  <a:defRPr sz="2800" b="1">
                    <a:solidFill>
                      <a:schemeClr val="bg1"/>
                    </a:solidFill>
                    <a:latin typeface="造字工房尚黑 G0v1 常规体" pitchFamily="50" charset="-122"/>
                    <a:ea typeface="造字工房尚黑 G0v1 常规体" pitchFamily="50" charset="-122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n-lt"/>
                    <a:ea typeface="造字工房尚黑 G0v1 常规体" pitchFamily="50" charset="-122"/>
                  </a:rPr>
                  <a:t>04</a:t>
                </a:r>
                <a:endPara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造字工房尚黑 G0v1 常规体" pitchFamily="50" charset="-122"/>
                </a:endParaRPr>
              </a:p>
            </p:txBody>
          </p:sp>
        </p:grp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6241CD41-5BAF-44F5-9A38-403F01B22628}"/>
              </a:ext>
            </a:extLst>
          </p:cNvPr>
          <p:cNvGrpSpPr/>
          <p:nvPr/>
        </p:nvGrpSpPr>
        <p:grpSpPr>
          <a:xfrm>
            <a:off x="1650393" y="5462381"/>
            <a:ext cx="2814229" cy="719571"/>
            <a:chOff x="2795448" y="1709373"/>
            <a:chExt cx="2814229" cy="719571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B1F5BA7D-9105-495A-956A-AB1B30FA301E}"/>
                </a:ext>
              </a:extLst>
            </p:cNvPr>
            <p:cNvSpPr/>
            <p:nvPr/>
          </p:nvSpPr>
          <p:spPr>
            <a:xfrm>
              <a:off x="2795449" y="1709373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zh-CN" altLang="en-US" sz="1400" b="1" kern="0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研究过程</a:t>
              </a:r>
              <a:endParaRPr lang="en-US" altLang="zh-CN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24A8EC95-8DD3-4EEB-8846-D5CA2D5ADF25}"/>
                </a:ext>
              </a:extLst>
            </p:cNvPr>
            <p:cNvSpPr txBox="1"/>
            <p:nvPr/>
          </p:nvSpPr>
          <p:spPr>
            <a:xfrm>
              <a:off x="2795448" y="1986322"/>
              <a:ext cx="2814229" cy="442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rn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9CE3E30B-D95E-4918-83B0-72BFDED1A44E}"/>
              </a:ext>
            </a:extLst>
          </p:cNvPr>
          <p:cNvGrpSpPr/>
          <p:nvPr/>
        </p:nvGrpSpPr>
        <p:grpSpPr>
          <a:xfrm>
            <a:off x="3299643" y="3688036"/>
            <a:ext cx="2814229" cy="719571"/>
            <a:chOff x="2795448" y="1709373"/>
            <a:chExt cx="2814229" cy="719571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C0686C5B-E837-4592-ABE2-48B3B69A9370}"/>
                </a:ext>
              </a:extLst>
            </p:cNvPr>
            <p:cNvSpPr/>
            <p:nvPr/>
          </p:nvSpPr>
          <p:spPr>
            <a:xfrm>
              <a:off x="2795449" y="1709373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zh-CN" altLang="en-US" sz="14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研究过程</a:t>
              </a:r>
              <a:endParaRPr lang="en-US" altLang="zh-CN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04F5B841-A74E-4755-8CBA-F349D5597F30}"/>
                </a:ext>
              </a:extLst>
            </p:cNvPr>
            <p:cNvSpPr txBox="1"/>
            <p:nvPr/>
          </p:nvSpPr>
          <p:spPr>
            <a:xfrm>
              <a:off x="2795448" y="1986322"/>
              <a:ext cx="2814229" cy="442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rn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F4A27236-AF55-41C8-B89D-B7A2A965E35C}"/>
              </a:ext>
            </a:extLst>
          </p:cNvPr>
          <p:cNvGrpSpPr/>
          <p:nvPr/>
        </p:nvGrpSpPr>
        <p:grpSpPr>
          <a:xfrm>
            <a:off x="6753263" y="3241518"/>
            <a:ext cx="2814229" cy="719571"/>
            <a:chOff x="2795448" y="1709373"/>
            <a:chExt cx="2814229" cy="719571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98E31CAE-F91E-4389-8C32-A873B96F4590}"/>
                </a:ext>
              </a:extLst>
            </p:cNvPr>
            <p:cNvSpPr/>
            <p:nvPr/>
          </p:nvSpPr>
          <p:spPr>
            <a:xfrm>
              <a:off x="2795449" y="1709373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zh-CN" altLang="en-US" sz="14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研究过程</a:t>
              </a:r>
              <a:endParaRPr lang="en-US" altLang="zh-CN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F8499A8D-DDB2-4923-8CD2-F0CEF6435376}"/>
                </a:ext>
              </a:extLst>
            </p:cNvPr>
            <p:cNvSpPr txBox="1"/>
            <p:nvPr/>
          </p:nvSpPr>
          <p:spPr>
            <a:xfrm>
              <a:off x="2795448" y="1986322"/>
              <a:ext cx="2814229" cy="442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rn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7CB376E4-4DAE-4D1F-8B39-53B0D5B53B39}"/>
              </a:ext>
            </a:extLst>
          </p:cNvPr>
          <p:cNvGrpSpPr/>
          <p:nvPr/>
        </p:nvGrpSpPr>
        <p:grpSpPr>
          <a:xfrm>
            <a:off x="8929200" y="2226188"/>
            <a:ext cx="2814229" cy="719571"/>
            <a:chOff x="2795448" y="1709373"/>
            <a:chExt cx="2814229" cy="719571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4A4191FA-2219-463A-AAFE-7496C68E4AF0}"/>
                </a:ext>
              </a:extLst>
            </p:cNvPr>
            <p:cNvSpPr/>
            <p:nvPr/>
          </p:nvSpPr>
          <p:spPr>
            <a:xfrm>
              <a:off x="2795449" y="1709373"/>
              <a:ext cx="902811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zh-CN" altLang="en-US" sz="1400" b="1" kern="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研究过程</a:t>
              </a:r>
              <a:endParaRPr lang="en-US" altLang="zh-CN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endParaRP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B4A144E0-3137-4B6D-8392-92C54A615C86}"/>
                </a:ext>
              </a:extLst>
            </p:cNvPr>
            <p:cNvSpPr txBox="1"/>
            <p:nvPr/>
          </p:nvSpPr>
          <p:spPr>
            <a:xfrm>
              <a:off x="2795448" y="1986322"/>
              <a:ext cx="2814229" cy="442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usce posuere, magna sed pulvinar ultricies, purus lectus malesuada libero, sit amet commodo magna eros quis </a:t>
              </a:r>
              <a:r>
                <a:rPr lang="en-US" altLang="zh-CN" sz="8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rna</a:t>
              </a:r>
              <a:r>
                <a:rPr lang="en-US" altLang="zh-CN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571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736" r="8324"/>
          <a:stretch/>
        </p:blipFill>
        <p:spPr>
          <a:xfrm flipH="1">
            <a:off x="0" y="0"/>
            <a:ext cx="10281140" cy="633100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22B81DC0-7DC2-43A8-924F-07D77F840D27}"/>
              </a:ext>
            </a:extLst>
          </p:cNvPr>
          <p:cNvSpPr txBox="1"/>
          <p:nvPr/>
        </p:nvSpPr>
        <p:spPr>
          <a:xfrm>
            <a:off x="6937306" y="3133247"/>
            <a:ext cx="480131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成果展示及应用</a:t>
            </a:r>
            <a:endParaRPr lang="zh-CN" altLang="en-US" sz="40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980A22-7E37-4178-B442-276318BF5894}"/>
              </a:ext>
            </a:extLst>
          </p:cNvPr>
          <p:cNvSpPr/>
          <p:nvPr/>
        </p:nvSpPr>
        <p:spPr>
          <a:xfrm>
            <a:off x="7613101" y="3867481"/>
            <a:ext cx="34497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results display and Application 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90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jEmGrPU2fc9U87uIQ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jEmGrPU2fc9U87uI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jEmGrPU2fc9U87uIQW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1223</Words>
  <Application>Microsoft Office PowerPoint</Application>
  <PresentationFormat>宽屏</PresentationFormat>
  <Paragraphs>113</Paragraphs>
  <Slides>1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5" baseType="lpstr">
      <vt:lpstr>맑은 고딕</vt:lpstr>
      <vt:lpstr>Nesobrite Cd</vt:lpstr>
      <vt:lpstr>造字工房尚黑 G0v1 常规体</vt:lpstr>
      <vt:lpstr>Arial</vt:lpstr>
      <vt:lpstr>Segoe UI Semilight</vt:lpstr>
      <vt:lpstr>等线</vt:lpstr>
      <vt:lpstr>等线 Light</vt:lpstr>
      <vt:lpstr>微软雅黑</vt:lpstr>
      <vt:lpstr>微软雅黑 Light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EDY</dc:creator>
  <cp:lastModifiedBy>HEDY</cp:lastModifiedBy>
  <cp:revision>3</cp:revision>
  <dcterms:created xsi:type="dcterms:W3CDTF">2020-02-22T13:37:20Z</dcterms:created>
  <dcterms:modified xsi:type="dcterms:W3CDTF">2020-03-05T18:46:55Z</dcterms:modified>
</cp:coreProperties>
</file>